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6"/>
  </p:notesMasterIdLst>
  <p:sldIdLst>
    <p:sldId id="2147470966" r:id="rId5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0000E4A-4CBE-2AA1-21CE-70AE68578AE9}" v="333" dt="2023-08-24T18:43:33.768"/>
    <p1510:client id="{62248212-E48A-94AB-D2EF-7AAF9EB0120C}" v="22" dt="2023-08-25T09:18:11.243"/>
    <p1510:client id="{A8BE8369-6D0F-4139-9A4C-BF2FB2F6811C}" v="2" dt="2023-08-24T06:49:28.09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4" d="100"/>
          <a:sy n="104" d="100"/>
        </p:scale>
        <p:origin x="756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C4AB746-E317-40C3-92B9-5E7BCC6343FA}" type="datetimeFigureOut">
              <a:rPr lang="en-GB" smtClean="0"/>
              <a:t>21/08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940C34-3635-4A85-83C0-6A077A2AD10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4126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712622A2-3E00-2A4D-8E5C-1BC3C6BDB7A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0604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6.png"/><Relationship Id="rId4" Type="http://schemas.openxmlformats.org/officeDocument/2006/relationships/image" Target="../media/image5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6.png"/><Relationship Id="rId4" Type="http://schemas.openxmlformats.org/officeDocument/2006/relationships/image" Target="../media/image5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6.png"/><Relationship Id="rId4" Type="http://schemas.openxmlformats.org/officeDocument/2006/relationships/image" Target="../media/image5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image" Target="../media/image2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3.emf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4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6.png"/><Relationship Id="rId4" Type="http://schemas.openxmlformats.org/officeDocument/2006/relationships/image" Target="../media/image5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3F5E5F8-0EF9-E5EC-BE75-B2510A193EA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780"/>
            <a:ext cx="12211504" cy="685522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D85679-A3AB-2643-A1FE-1CC2B02785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29438" y="2000409"/>
            <a:ext cx="7533124" cy="2857182"/>
          </a:xfrm>
        </p:spPr>
        <p:txBody>
          <a:bodyPr>
            <a:normAutofit/>
          </a:bodyPr>
          <a:lstStyle>
            <a:lvl1pPr marL="0" indent="0" algn="ctr">
              <a:spcBef>
                <a:spcPct val="0"/>
              </a:spcBef>
              <a:buNone/>
              <a:defRPr sz="2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his ppt template is meant to be used for sustainability specific presentations. It should not be used as a default template for general business use, for example if only a portion of the presentation is sustainability related. It will mostly be used internally, however there are instances where it would be applicable for external such as a customer meeting that is focused on sustainability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69AA76A-63B0-043E-9580-A15A6FEFC1A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BE964DB-0B7D-6EBB-6725-1A820FD13642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704CCFC-D2B6-AED8-CDA0-B163BD4463C5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9FBCCFC-0390-34AE-3F80-B46BBA62BC2A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2168E1A-69DF-F63E-2AE8-B60DB7234A4E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6975E2E-3984-0B40-73A8-B7CC4A2B19BF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E6261FB-107B-F06A-B395-518E576232FB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AB54340-675F-F707-4E34-A216647E1734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D03F967-EC41-F0EA-462E-6FA837216E20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7CDF6FE-CD83-9225-B5BE-6792B764FB1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6115943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696A943-621C-B904-5750-CFE5CD8927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90"/>
            <a:ext cx="12192000" cy="685522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0EE36E9-394F-0C41-BF42-F3DE19BE0FC0}"/>
              </a:ext>
            </a:extLst>
          </p:cNvPr>
          <p:cNvSpPr txBox="1"/>
          <p:nvPr userDrawn="1"/>
        </p:nvSpPr>
        <p:spPr>
          <a:xfrm>
            <a:off x="11064240" y="6639040"/>
            <a:ext cx="993807" cy="1981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CN" sz="700" b="0" i="0" strike="noStrike" cap="none" spc="300" baseline="0">
                <a:solidFill>
                  <a:srgbClr val="FFFFFF"/>
                </a:solidFill>
                <a:effectLst/>
                <a:latin typeface="SimSun"/>
                <a:ea typeface="SimSun"/>
                <a:cs typeface="SimSun"/>
              </a:rPr>
              <a:t>第 </a:t>
            </a:r>
            <a:fld id="{0663A295-D5E2-4F11-B9D4-0C44F1395985}" type="slidenum">
              <a:rPr lang="en-US" altLang="zh-CN" sz="700" b="0" i="0" strike="noStrike" cap="none" spc="300" baseline="0">
                <a:solidFill>
                  <a:srgbClr val="FFFFFF"/>
                </a:solidFill>
                <a:effectLst/>
                <a:latin typeface="SimSun"/>
                <a:ea typeface="SimSun"/>
                <a:cs typeface="SimSun"/>
              </a:rPr>
              <a:t>‹#›</a:t>
            </a:fld>
            <a:r>
              <a:rPr lang="zh-CN" sz="700" b="0" i="0" strike="noStrike" cap="none" spc="300" baseline="0">
                <a:solidFill>
                  <a:srgbClr val="FFFFFF"/>
                </a:solidFill>
                <a:effectLst/>
                <a:latin typeface="SimSun"/>
                <a:ea typeface="SimSun"/>
                <a:cs typeface="SimSun"/>
              </a:rPr>
              <a:t> 页</a:t>
            </a:r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725C3909-A05B-B085-F033-8F70235FA4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2823" y="3618647"/>
            <a:ext cx="6107977" cy="533223"/>
          </a:xfrm>
        </p:spPr>
        <p:txBody>
          <a:bodyPr>
            <a:noAutofit/>
          </a:bodyPr>
          <a:lstStyle>
            <a:lvl1pPr marL="0" indent="0"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D38101CF-C93F-9F7C-4A02-9C6998B0BB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2823" y="4419697"/>
            <a:ext cx="6107977" cy="533223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9CB29D8-F6AD-7D16-6970-7D44A9A6979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DD8CFA6-11AF-0EFC-E415-CD113C67AEF9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871F8AA-8973-FDD0-996F-069FD13C8C04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BBF69C7-D84E-1D5C-83A8-F74AE52743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70813E5-CD1C-B3B9-8565-81CB96C05B3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B54A627-7181-1702-65CC-0462E76EE022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388916F-6EC4-2AF8-F037-8B78BC69072D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B75DF80-2AF1-060E-3052-ED53271484E6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46E393C-E4D0-3508-4396-238F3C851C9F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1C6FB3A-778E-D5EE-C5F8-23CA38DB0C22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5603148-A734-B419-9867-364A302C253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text, transport, aircraft&#10;&#10;Description automatically generated">
            <a:extLst>
              <a:ext uri="{FF2B5EF4-FFF2-40B4-BE49-F238E27FC236}">
                <a16:creationId xmlns:a16="http://schemas.microsoft.com/office/drawing/2014/main" id="{EE379AA1-F887-FE8A-28E7-C5C2EC5B3C4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751" y="255284"/>
            <a:ext cx="3413263" cy="1375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9673685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696A943-621C-B904-5750-CFE5CD8927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90"/>
            <a:ext cx="12192000" cy="6855220"/>
          </a:xfrm>
          <a:prstGeom prst="rect">
            <a:avLst/>
          </a:prstGeom>
        </p:spPr>
      </p:pic>
      <p:pic>
        <p:nvPicPr>
          <p:cNvPr id="24" name="Picture 23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71266C21-5BF7-2A5A-876B-1AB3E25C04C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9" y="1"/>
            <a:ext cx="12192000" cy="68580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0EE36E9-394F-0C41-BF42-F3DE19BE0FC0}"/>
              </a:ext>
            </a:extLst>
          </p:cNvPr>
          <p:cNvSpPr txBox="1"/>
          <p:nvPr userDrawn="1"/>
        </p:nvSpPr>
        <p:spPr>
          <a:xfrm>
            <a:off x="11064240" y="6639040"/>
            <a:ext cx="993807" cy="1981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CN" sz="700" b="0" i="0" strike="noStrike" cap="none" spc="300" baseline="0">
                <a:solidFill>
                  <a:srgbClr val="FFFFFF"/>
                </a:solidFill>
                <a:effectLst/>
                <a:latin typeface="SimSun"/>
                <a:ea typeface="SimSun"/>
                <a:cs typeface="SimSun"/>
              </a:rPr>
              <a:t>第 </a:t>
            </a:r>
            <a:fld id="{6F7FCF58-4AA2-434C-9941-A5891AB48255}" type="slidenum">
              <a:rPr lang="en-US" altLang="zh-CN" sz="700" b="0" i="0" strike="noStrike" cap="none" spc="300" baseline="0">
                <a:solidFill>
                  <a:srgbClr val="FFFFFF"/>
                </a:solidFill>
                <a:effectLst/>
                <a:latin typeface="SimSun"/>
                <a:ea typeface="SimSun"/>
                <a:cs typeface="SimSun"/>
              </a:rPr>
              <a:t>‹#›</a:t>
            </a:fld>
            <a:r>
              <a:rPr lang="zh-CN" sz="700" b="0" i="0" strike="noStrike" cap="none" spc="300" baseline="0">
                <a:solidFill>
                  <a:srgbClr val="FFFFFF"/>
                </a:solidFill>
                <a:effectLst/>
                <a:latin typeface="SimSun"/>
                <a:ea typeface="SimSun"/>
                <a:cs typeface="SimSun"/>
              </a:rPr>
              <a:t> 页</a:t>
            </a:r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725C3909-A05B-B085-F033-8F70235FA4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2823" y="3618647"/>
            <a:ext cx="5803177" cy="601167"/>
          </a:xfrm>
        </p:spPr>
        <p:txBody>
          <a:bodyPr>
            <a:noAutofit/>
          </a:bodyPr>
          <a:lstStyle>
            <a:lvl1pPr marL="0" indent="0"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D38101CF-C93F-9F7C-4A02-9C6998B0BB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2823" y="4419697"/>
            <a:ext cx="5803177" cy="601167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9CB29D8-F6AD-7D16-6970-7D44A9A6979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DD8CFA6-11AF-0EFC-E415-CD113C67AEF9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871F8AA-8973-FDD0-996F-069FD13C8C04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BBF69C7-D84E-1D5C-83A8-F74AE52743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70813E5-CD1C-B3B9-8565-81CB96C05B3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B54A627-7181-1702-65CC-0462E76EE022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388916F-6EC4-2AF8-F037-8B78BC69072D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B75DF80-2AF1-060E-3052-ED53271484E6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46E393C-E4D0-3508-4396-238F3C851C9F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1C6FB3A-778E-D5EE-C5F8-23CA38DB0C22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5603148-A734-B419-9867-364A302C253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text, transport, aircraft&#10;&#10;Description automatically generated">
            <a:extLst>
              <a:ext uri="{FF2B5EF4-FFF2-40B4-BE49-F238E27FC236}">
                <a16:creationId xmlns:a16="http://schemas.microsoft.com/office/drawing/2014/main" id="{0BDD9D65-34C0-CFC2-D168-9DEAFA8A8C6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751" y="255284"/>
            <a:ext cx="3413263" cy="1375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5226422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696A943-621C-B904-5750-CFE5CD8927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90"/>
            <a:ext cx="12192000" cy="6855220"/>
          </a:xfrm>
          <a:prstGeom prst="rect">
            <a:avLst/>
          </a:prstGeom>
        </p:spPr>
      </p:pic>
      <p:pic>
        <p:nvPicPr>
          <p:cNvPr id="21" name="Picture 20" descr="Graphical user interface&#10;&#10;Description automatically generated">
            <a:extLst>
              <a:ext uri="{FF2B5EF4-FFF2-40B4-BE49-F238E27FC236}">
                <a16:creationId xmlns:a16="http://schemas.microsoft.com/office/drawing/2014/main" id="{0731DAAD-BA87-20ED-300E-316AA7AB114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878" y="1"/>
            <a:ext cx="12192000" cy="68580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0EE36E9-394F-0C41-BF42-F3DE19BE0FC0}"/>
              </a:ext>
            </a:extLst>
          </p:cNvPr>
          <p:cNvSpPr txBox="1"/>
          <p:nvPr userDrawn="1"/>
        </p:nvSpPr>
        <p:spPr>
          <a:xfrm>
            <a:off x="11064240" y="6639040"/>
            <a:ext cx="993807" cy="1981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CN" sz="700" b="0" i="0" strike="noStrike" cap="none" spc="300" baseline="0">
                <a:solidFill>
                  <a:srgbClr val="FFFFFF"/>
                </a:solidFill>
                <a:effectLst/>
                <a:latin typeface="SimSun"/>
                <a:ea typeface="SimSun"/>
                <a:cs typeface="SimSun"/>
              </a:rPr>
              <a:t>第 </a:t>
            </a:r>
            <a:fld id="{38734FF6-21B8-424E-8EF1-4814C7DA3468}" type="slidenum">
              <a:rPr lang="en-US" altLang="zh-CN" sz="700" b="0" i="0" strike="noStrike" cap="none" spc="300" baseline="0">
                <a:solidFill>
                  <a:srgbClr val="FFFFFF"/>
                </a:solidFill>
                <a:effectLst/>
                <a:latin typeface="SimSun"/>
                <a:ea typeface="SimSun"/>
                <a:cs typeface="SimSun"/>
              </a:rPr>
              <a:t>‹#›</a:t>
            </a:fld>
            <a:r>
              <a:rPr lang="zh-CN" sz="700" b="0" i="0" strike="noStrike" cap="none" spc="300" baseline="0">
                <a:solidFill>
                  <a:srgbClr val="FFFFFF"/>
                </a:solidFill>
                <a:effectLst/>
                <a:latin typeface="SimSun"/>
                <a:ea typeface="SimSun"/>
                <a:cs typeface="SimSun"/>
              </a:rPr>
              <a:t> 页</a:t>
            </a:r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725C3909-A05B-B085-F033-8F70235FA4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2823" y="3618647"/>
            <a:ext cx="5803177" cy="601167"/>
          </a:xfrm>
        </p:spPr>
        <p:txBody>
          <a:bodyPr>
            <a:noAutofit/>
          </a:bodyPr>
          <a:lstStyle>
            <a:lvl1pPr marL="0" indent="0"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D38101CF-C93F-9F7C-4A02-9C6998B0BB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2823" y="4419697"/>
            <a:ext cx="5803177" cy="601167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9CB29D8-F6AD-7D16-6970-7D44A9A6979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DD8CFA6-11AF-0EFC-E415-CD113C67AEF9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871F8AA-8973-FDD0-996F-069FD13C8C04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BBF69C7-D84E-1D5C-83A8-F74AE52743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70813E5-CD1C-B3B9-8565-81CB96C05B3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B54A627-7181-1702-65CC-0462E76EE022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388916F-6EC4-2AF8-F037-8B78BC69072D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B75DF80-2AF1-060E-3052-ED53271484E6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46E393C-E4D0-3508-4396-238F3C851C9F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1C6FB3A-778E-D5EE-C5F8-23CA38DB0C22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5603148-A734-B419-9867-364A302C253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text, transport, aircraft&#10;&#10;Description automatically generated">
            <a:extLst>
              <a:ext uri="{FF2B5EF4-FFF2-40B4-BE49-F238E27FC236}">
                <a16:creationId xmlns:a16="http://schemas.microsoft.com/office/drawing/2014/main" id="{7CEA8AF8-B614-0A9D-C67A-55735326A2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751" y="255284"/>
            <a:ext cx="3413263" cy="1375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4937801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696A943-621C-B904-5750-CFE5CD8927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90"/>
            <a:ext cx="12192000" cy="6855220"/>
          </a:xfrm>
          <a:prstGeom prst="rect">
            <a:avLst/>
          </a:prstGeom>
        </p:spPr>
      </p:pic>
      <p:pic>
        <p:nvPicPr>
          <p:cNvPr id="18" name="Picture 17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1BE6188F-CFD4-194E-BF9F-538039B470F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410" y="1"/>
            <a:ext cx="12189529" cy="685661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0EE36E9-394F-0C41-BF42-F3DE19BE0FC0}"/>
              </a:ext>
            </a:extLst>
          </p:cNvPr>
          <p:cNvSpPr txBox="1"/>
          <p:nvPr userDrawn="1"/>
        </p:nvSpPr>
        <p:spPr>
          <a:xfrm>
            <a:off x="11064240" y="6639040"/>
            <a:ext cx="993807" cy="1981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CN" sz="700" b="0" i="0" strike="noStrike" cap="none" spc="300" baseline="0">
                <a:solidFill>
                  <a:srgbClr val="FFFFFF"/>
                </a:solidFill>
                <a:effectLst/>
                <a:latin typeface="SimSun"/>
                <a:ea typeface="SimSun"/>
                <a:cs typeface="SimSun"/>
              </a:rPr>
              <a:t>第 </a:t>
            </a:r>
            <a:fld id="{D98A617A-B831-4DD7-B76C-47412B89F85D}" type="slidenum">
              <a:rPr lang="en-US" altLang="zh-CN" sz="700" b="0" i="0" strike="noStrike" cap="none" spc="300" baseline="0">
                <a:solidFill>
                  <a:srgbClr val="FFFFFF"/>
                </a:solidFill>
                <a:effectLst/>
                <a:latin typeface="SimSun"/>
                <a:ea typeface="SimSun"/>
                <a:cs typeface="SimSun"/>
              </a:rPr>
              <a:t>‹#›</a:t>
            </a:fld>
            <a:r>
              <a:rPr lang="zh-CN" sz="700" b="0" i="0" strike="noStrike" cap="none" spc="300" baseline="0">
                <a:solidFill>
                  <a:srgbClr val="FFFFFF"/>
                </a:solidFill>
                <a:effectLst/>
                <a:latin typeface="SimSun"/>
                <a:ea typeface="SimSun"/>
                <a:cs typeface="SimSun"/>
              </a:rPr>
              <a:t> 页</a:t>
            </a:r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725C3909-A05B-B085-F033-8F70235FA4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2823" y="3618647"/>
            <a:ext cx="5285017" cy="601167"/>
          </a:xfrm>
        </p:spPr>
        <p:txBody>
          <a:bodyPr>
            <a:noAutofit/>
          </a:bodyPr>
          <a:lstStyle>
            <a:lvl1pPr marL="0" indent="0"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D38101CF-C93F-9F7C-4A02-9C6998B0BB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2823" y="4419697"/>
            <a:ext cx="5285017" cy="601167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9CB29D8-F6AD-7D16-6970-7D44A9A6979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DD8CFA6-11AF-0EFC-E415-CD113C67AEF9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871F8AA-8973-FDD0-996F-069FD13C8C04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BBF69C7-D84E-1D5C-83A8-F74AE52743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70813E5-CD1C-B3B9-8565-81CB96C05B3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B54A627-7181-1702-65CC-0462E76EE022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388916F-6EC4-2AF8-F037-8B78BC69072D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B75DF80-2AF1-060E-3052-ED53271484E6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46E393C-E4D0-3508-4396-238F3C851C9F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1C6FB3A-778E-D5EE-C5F8-23CA38DB0C22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5603148-A734-B419-9867-364A302C253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text, transport, aircraft&#10;&#10;Description automatically generated">
            <a:extLst>
              <a:ext uri="{FF2B5EF4-FFF2-40B4-BE49-F238E27FC236}">
                <a16:creationId xmlns:a16="http://schemas.microsoft.com/office/drawing/2014/main" id="{8059F694-5CA6-002A-6D04-BB52DF0DCB7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751" y="255284"/>
            <a:ext cx="3413263" cy="1375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2388770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BC28396-9FBD-0DEE-F8F8-FFE0B2718C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90"/>
            <a:ext cx="12192000" cy="6855220"/>
          </a:xfrm>
          <a:prstGeom prst="rect">
            <a:avLst/>
          </a:prstGeom>
        </p:spPr>
      </p:pic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1E120AF7-7A13-B64B-A6A7-D59437507B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07151" y="3277752"/>
            <a:ext cx="5011699" cy="734982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0C49832-EB6B-4540-BD2F-BE66885F75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07151" y="5284915"/>
            <a:ext cx="5011699" cy="734982"/>
          </a:xfrm>
          <a:noFill/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F9B9942F-8782-9217-0CDF-F953ADDDD2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07151" y="4262094"/>
            <a:ext cx="5011699" cy="734982"/>
          </a:xfrm>
        </p:spPr>
        <p:txBody>
          <a:bodyPr>
            <a:noAutofit/>
          </a:bodyPr>
          <a:lstStyle>
            <a:lvl1pPr marL="0" indent="0">
              <a:buNone/>
              <a:defRPr sz="32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AB3E34A-8F9C-5E86-5256-FC7240DB681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390"/>
            <a:ext cx="5292946" cy="528630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5766D94-4B68-6652-94F9-D21C447069A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5350" y="4549214"/>
            <a:ext cx="895724" cy="89572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DD9C52F-29B3-465A-2EB7-01668D9BBE9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096031F5-52E2-13E6-DC35-CE8E02A04CE7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364EF2F-7762-0CE6-C043-30E89012A497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7F89739-37E7-E219-23A3-1EA849A22F46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31BE03A-CA96-B873-5324-67F62D03762F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4602706-645D-5DDD-7EB8-838BAD9ABD8A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871359C-CB4F-183F-E5EA-DF631FB5B237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91C065A-D856-E961-9DBA-49E1715470F2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E6CF1B-7DEC-883B-A325-5B95ABA6D3D4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008688E-F719-233C-5094-C97B2757AF7F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24EF986-AA7F-F2B3-E160-6F48CF355CE5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18" descr="A picture containing text, transport, aircraft&#10;&#10;Description automatically generated">
            <a:extLst>
              <a:ext uri="{FF2B5EF4-FFF2-40B4-BE49-F238E27FC236}">
                <a16:creationId xmlns:a16="http://schemas.microsoft.com/office/drawing/2014/main" id="{0C97FFF4-323F-FE21-4BAB-6CF4DCD32EF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37432" y="214473"/>
            <a:ext cx="3354568" cy="1352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10177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3DDEC44-7900-14BB-E1C6-E2B56B40EA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932" y="0"/>
            <a:ext cx="12225551" cy="984250"/>
          </a:xfrm>
          <a:prstGeom prst="rect">
            <a:avLst/>
          </a:prstGeom>
        </p:spPr>
      </p:pic>
      <p:sp>
        <p:nvSpPr>
          <p:cNvPr id="4" name="Title 23">
            <a:extLst>
              <a:ext uri="{FF2B5EF4-FFF2-40B4-BE49-F238E27FC236}">
                <a16:creationId xmlns:a16="http://schemas.microsoft.com/office/drawing/2014/main" id="{BA86CFA2-0E9B-C65F-D669-4FA48A9762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2" y="168381"/>
            <a:ext cx="10952147" cy="623222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lang="en-US" sz="3200" b="1" i="0" kern="1200" spc="-2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778A1C9-4674-7473-2695-49D1DD352F1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7C87B5A-D30D-9E8D-FD11-E59122A98CC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3255" y="5418611"/>
            <a:ext cx="2261365" cy="144942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E48263F-855B-453F-23B1-1874389B953F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6852BD5-A601-8565-6DC8-88A5E23729E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BE43B89-9AD5-DC7A-B256-9161991FAA72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D6F074B-131B-A174-8CFD-46EE9DD9EAF5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D3E4009-923E-B89A-5329-915D2C546250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4A86DAD-D2D8-EF05-D617-4E0B37A86A32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13C0C0F-DA3E-45B7-03AD-D7680F4E56B9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7A5A0B9-2205-B31B-97B6-FC2AB98BAF79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A73DA91-5D70-E911-6308-65B016293A8C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CF55151-E534-7369-6FFB-6AB8CBE165A1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A30E723-61D3-D0A7-9131-418A026C05E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09231" y="1210961"/>
            <a:ext cx="10952147" cy="50606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rgbClr val="133CCF"/>
                </a:solidFill>
              </a:defRPr>
            </a:lvl1pPr>
            <a:lvl2pPr>
              <a:defRPr>
                <a:solidFill>
                  <a:srgbClr val="133CCF"/>
                </a:solidFill>
              </a:defRPr>
            </a:lvl2pPr>
            <a:lvl3pPr>
              <a:defRPr>
                <a:solidFill>
                  <a:srgbClr val="133CCF"/>
                </a:solidFill>
              </a:defRPr>
            </a:lvl3pPr>
            <a:lvl4pPr>
              <a:defRPr>
                <a:solidFill>
                  <a:srgbClr val="133CCF"/>
                </a:solidFill>
              </a:defRPr>
            </a:lvl4pPr>
            <a:lvl5pPr>
              <a:defRPr>
                <a:solidFill>
                  <a:srgbClr val="133CC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54008856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3DDEC44-7900-14BB-E1C6-E2B56B40EA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932" y="0"/>
            <a:ext cx="12225551" cy="984250"/>
          </a:xfrm>
          <a:prstGeom prst="rect">
            <a:avLst/>
          </a:prstGeom>
        </p:spPr>
      </p:pic>
      <p:sp>
        <p:nvSpPr>
          <p:cNvPr id="4" name="Title 23">
            <a:extLst>
              <a:ext uri="{FF2B5EF4-FFF2-40B4-BE49-F238E27FC236}">
                <a16:creationId xmlns:a16="http://schemas.microsoft.com/office/drawing/2014/main" id="{BA86CFA2-0E9B-C65F-D669-4FA48A9762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2" y="168381"/>
            <a:ext cx="10952147" cy="623222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lang="en-US" sz="3200" b="1" i="0" kern="1200" spc="-2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E48263F-855B-453F-23B1-1874389B953F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6852BD5-A601-8565-6DC8-88A5E23729E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BE43B89-9AD5-DC7A-B256-9161991FAA72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D6F074B-131B-A174-8CFD-46EE9DD9EAF5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D3E4009-923E-B89A-5329-915D2C546250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4A86DAD-D2D8-EF05-D617-4E0B37A86A32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13C0C0F-DA3E-45B7-03AD-D7680F4E56B9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7A5A0B9-2205-B31B-97B6-FC2AB98BAF79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A73DA91-5D70-E911-6308-65B016293A8C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CF55151-E534-7369-6FFB-6AB8CBE165A1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A30E723-61D3-D0A7-9131-418A026C05E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09231" y="1210961"/>
            <a:ext cx="10952147" cy="50606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rgbClr val="133CCF"/>
                </a:solidFill>
              </a:defRPr>
            </a:lvl1pPr>
            <a:lvl2pPr>
              <a:defRPr>
                <a:solidFill>
                  <a:srgbClr val="133CCF"/>
                </a:solidFill>
              </a:defRPr>
            </a:lvl2pPr>
            <a:lvl3pPr>
              <a:defRPr>
                <a:solidFill>
                  <a:srgbClr val="133CCF"/>
                </a:solidFill>
              </a:defRPr>
            </a:lvl3pPr>
            <a:lvl4pPr>
              <a:defRPr>
                <a:solidFill>
                  <a:srgbClr val="133CCF"/>
                </a:solidFill>
              </a:defRPr>
            </a:lvl4pPr>
            <a:lvl5pPr>
              <a:defRPr>
                <a:solidFill>
                  <a:srgbClr val="133CC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41B25C3-E50F-4513-8A56-12BE755D78D7}"/>
              </a:ext>
            </a:extLst>
          </p:cNvPr>
          <p:cNvSpPr txBox="1"/>
          <p:nvPr userDrawn="1"/>
        </p:nvSpPr>
        <p:spPr>
          <a:xfrm>
            <a:off x="343948" y="6632721"/>
            <a:ext cx="271113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sz="700" b="0" i="0" strike="noStrike" cap="none" spc="0" baseline="0" dirty="0">
                <a:solidFill>
                  <a:schemeClr val="accent5">
                    <a:lumMod val="75000"/>
                  </a:schemeClr>
                </a:solidFill>
                <a:effectLst/>
                <a:latin typeface="SimSun"/>
                <a:ea typeface="SimSun"/>
                <a:cs typeface="SimSun"/>
              </a:rPr>
              <a:t>PepsiCo 正持计划 </a:t>
            </a:r>
            <a:r>
              <a:rPr lang="zh-CN" sz="700" b="0" i="0" strike="noStrike" cap="none" spc="0" baseline="0" dirty="0">
                <a:solidFill>
                  <a:srgbClr val="0070C0"/>
                </a:solidFill>
                <a:effectLst/>
                <a:latin typeface="SimSun"/>
                <a:ea typeface="SimSun"/>
                <a:cs typeface="SimSun"/>
              </a:rPr>
              <a:t>| </a:t>
            </a:r>
            <a:r>
              <a:rPr lang="zh-CN" sz="700" b="0" i="0" strike="noStrike" cap="none" spc="0" baseline="0" dirty="0">
                <a:solidFill>
                  <a:srgbClr val="00B050"/>
                </a:solidFill>
                <a:effectLst/>
                <a:latin typeface="SimSun"/>
                <a:ea typeface="SimSun"/>
                <a:cs typeface="SimSun"/>
              </a:rPr>
              <a:t>机密和专有</a:t>
            </a:r>
            <a:endParaRPr lang="es-CO" sz="700" dirty="0">
              <a:solidFill>
                <a:srgbClr val="00B050"/>
              </a:solidFill>
              <a:latin typeface="+mj-lt"/>
              <a:ea typeface="Tahoma" panose="020B060403050404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1680321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3DDEC44-7900-14BB-E1C6-E2B56B40EA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932" y="0"/>
            <a:ext cx="12225551" cy="1449421"/>
          </a:xfrm>
          <a:prstGeom prst="rect">
            <a:avLst/>
          </a:prstGeom>
        </p:spPr>
      </p:pic>
      <p:sp>
        <p:nvSpPr>
          <p:cNvPr id="4" name="Title 23">
            <a:extLst>
              <a:ext uri="{FF2B5EF4-FFF2-40B4-BE49-F238E27FC236}">
                <a16:creationId xmlns:a16="http://schemas.microsoft.com/office/drawing/2014/main" id="{BA86CFA2-0E9B-C65F-D669-4FA48A9762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2" y="168381"/>
            <a:ext cx="10952147" cy="623222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lang="en-US" sz="3200" b="1" i="0" kern="1200" spc="-2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778A1C9-4674-7473-2695-49D1DD352F1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7C87B5A-D30D-9E8D-FD11-E59122A98CC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3255" y="5418611"/>
            <a:ext cx="2261365" cy="144942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E48263F-855B-453F-23B1-1874389B953F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6852BD5-A601-8565-6DC8-88A5E23729E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BE43B89-9AD5-DC7A-B256-9161991FAA72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D6F074B-131B-A174-8CFD-46EE9DD9EAF5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D3E4009-923E-B89A-5329-915D2C546250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4A86DAD-D2D8-EF05-D617-4E0B37A86A32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13C0C0F-DA3E-45B7-03AD-D7680F4E56B9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7A5A0B9-2205-B31B-97B6-FC2AB98BAF79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A73DA91-5D70-E911-6308-65B016293A8C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CF55151-E534-7369-6FFB-6AB8CBE165A1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A30E723-61D3-D0A7-9131-418A026C05E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09231" y="1807404"/>
            <a:ext cx="10952147" cy="32341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rgbClr val="133CCF"/>
                </a:solidFill>
              </a:defRPr>
            </a:lvl1pPr>
            <a:lvl2pPr>
              <a:defRPr>
                <a:solidFill>
                  <a:srgbClr val="133CCF"/>
                </a:solidFill>
              </a:defRPr>
            </a:lvl2pPr>
            <a:lvl3pPr>
              <a:defRPr>
                <a:solidFill>
                  <a:srgbClr val="133CCF"/>
                </a:solidFill>
              </a:defRPr>
            </a:lvl3pPr>
            <a:lvl4pPr>
              <a:defRPr>
                <a:solidFill>
                  <a:srgbClr val="133CCF"/>
                </a:solidFill>
              </a:defRPr>
            </a:lvl4pPr>
            <a:lvl5pPr>
              <a:defRPr>
                <a:solidFill>
                  <a:srgbClr val="133CC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58345482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E359780-2114-B954-85C0-0E7AE0FB75A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932" y="0"/>
            <a:ext cx="12225551" cy="1449421"/>
          </a:xfrm>
          <a:prstGeom prst="rect">
            <a:avLst/>
          </a:prstGeom>
        </p:spPr>
      </p:pic>
      <p:sp>
        <p:nvSpPr>
          <p:cNvPr id="4" name="Title 23">
            <a:extLst>
              <a:ext uri="{FF2B5EF4-FFF2-40B4-BE49-F238E27FC236}">
                <a16:creationId xmlns:a16="http://schemas.microsoft.com/office/drawing/2014/main" id="{BA86CFA2-0E9B-C65F-D669-4FA48A9762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2" y="168381"/>
            <a:ext cx="10952147" cy="623222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lang="en-US" sz="3200" b="1" i="0" kern="1200" spc="-2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778A1C9-4674-7473-2695-49D1DD352F1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E48263F-855B-453F-23B1-1874389B953F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6852BD5-A601-8565-6DC8-88A5E23729E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BE43B89-9AD5-DC7A-B256-9161991FAA72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D6F074B-131B-A174-8CFD-46EE9DD9EAF5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D3E4009-923E-B89A-5329-915D2C546250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4A86DAD-D2D8-EF05-D617-4E0B37A86A32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13C0C0F-DA3E-45B7-03AD-D7680F4E56B9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7A5A0B9-2205-B31B-97B6-FC2AB98BAF79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A73DA91-5D70-E911-6308-65B016293A8C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CF55151-E534-7369-6FFB-6AB8CBE165A1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A30E723-61D3-D0A7-9131-418A026C05E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09231" y="1807404"/>
            <a:ext cx="10952147" cy="32341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rgbClr val="133CCF"/>
                </a:solidFill>
              </a:defRPr>
            </a:lvl1pPr>
            <a:lvl2pPr>
              <a:defRPr>
                <a:solidFill>
                  <a:srgbClr val="133CCF"/>
                </a:solidFill>
              </a:defRPr>
            </a:lvl2pPr>
            <a:lvl3pPr>
              <a:defRPr>
                <a:solidFill>
                  <a:srgbClr val="133CCF"/>
                </a:solidFill>
              </a:defRPr>
            </a:lvl3pPr>
            <a:lvl4pPr>
              <a:defRPr>
                <a:solidFill>
                  <a:srgbClr val="133CCF"/>
                </a:solidFill>
              </a:defRPr>
            </a:lvl4pPr>
            <a:lvl5pPr>
              <a:defRPr>
                <a:solidFill>
                  <a:srgbClr val="133CC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98851836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42AB644-762A-78B9-54D9-8D08DF1AC1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932" y="0"/>
            <a:ext cx="12225551" cy="984250"/>
          </a:xfrm>
          <a:prstGeom prst="rect">
            <a:avLst/>
          </a:prstGeom>
        </p:spPr>
      </p:pic>
      <p:sp>
        <p:nvSpPr>
          <p:cNvPr id="4" name="Title 23">
            <a:extLst>
              <a:ext uri="{FF2B5EF4-FFF2-40B4-BE49-F238E27FC236}">
                <a16:creationId xmlns:a16="http://schemas.microsoft.com/office/drawing/2014/main" id="{8D4B37A5-2FF3-D03C-A1E3-5C30672637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3" y="168381"/>
            <a:ext cx="10951910" cy="623222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lang="en-US" sz="3200" b="1" i="0" kern="1200" spc="-2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955ED6C-27C8-0BE6-66C4-C99617BA866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121651B-17C8-D249-2390-5566494A420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11011648" y="0"/>
            <a:ext cx="1202971" cy="98424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737415C-21A1-327B-15B5-C129D59365D3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0B001CD-89C1-F7AE-63E6-F2E4495AB5F6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24E7C63-8BEE-9577-3A62-8EC4D68DD447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0BF563C-14BE-8725-3744-228100E3EF11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A190F70-2A5F-3DBA-9D7A-6EE3873339A0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DC8A78E-26BB-16EA-EC53-9065D761581D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C95E006-0601-F8D7-3C49-3C7EF4C0622D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2DBFEF5-7DDD-931D-17BD-F1EB2E4FE488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DA30DD-51D9-0D16-A652-01DC1EDADF5C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3DA8BC8-2657-8EF4-48C9-E72798F2C9EF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1DFD998-762C-EE05-A0B7-53157A3E2C8A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66B16B-C169-4E72-F23E-30A3D09BC2A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231" y="1210961"/>
            <a:ext cx="10952147" cy="50606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rgbClr val="133CCF"/>
                </a:solidFill>
              </a:defRPr>
            </a:lvl1pPr>
            <a:lvl2pPr>
              <a:defRPr>
                <a:solidFill>
                  <a:srgbClr val="133CCF"/>
                </a:solidFill>
              </a:defRPr>
            </a:lvl2pPr>
            <a:lvl3pPr>
              <a:defRPr>
                <a:solidFill>
                  <a:srgbClr val="133CCF"/>
                </a:solidFill>
              </a:defRPr>
            </a:lvl3pPr>
            <a:lvl4pPr>
              <a:defRPr>
                <a:solidFill>
                  <a:srgbClr val="133CCF"/>
                </a:solidFill>
              </a:defRPr>
            </a:lvl4pPr>
            <a:lvl5pPr>
              <a:defRPr>
                <a:solidFill>
                  <a:srgbClr val="133CC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32885212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31B6055-753F-B35A-F46A-50D548BD42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90"/>
            <a:ext cx="12192000" cy="685522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98CA8E3-8E10-31C8-E30A-7034E2AEBA5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390"/>
            <a:ext cx="5214876" cy="451343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247F414-5F05-B515-6F7E-82386ABDF7C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09700" y="4560782"/>
            <a:ext cx="2282300" cy="2314252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855BE84-80B4-B287-0343-996ACA21E6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67017" y="3684482"/>
            <a:ext cx="8674442" cy="608864"/>
          </a:xfrm>
        </p:spPr>
        <p:txBody>
          <a:bodyPr>
            <a:noAutofit/>
          </a:bodyPr>
          <a:lstStyle>
            <a:lvl1pPr marL="0" indent="0" algn="ctr"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1660172-DB72-31A3-0D6C-322C56FFDF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67017" y="4475046"/>
            <a:ext cx="8674442" cy="608864"/>
          </a:xfrm>
          <a:noFill/>
        </p:spPr>
        <p:txBody>
          <a:bodyPr>
            <a:noAutofit/>
          </a:bodyPr>
          <a:lstStyle>
            <a:lvl1pPr marL="0" indent="0" algn="ctr">
              <a:buNone/>
              <a:defRPr sz="28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 err="1"/>
              <a:t>Subtile</a:t>
            </a:r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A1A6BFE-D9CB-E904-15BB-81F9E486EF9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CD46EAB5-B1CA-C4F4-1686-52A1616696B5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82277D3-97E2-B7F7-CFD8-32FD89222BCF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D3E162B-CBA8-CB55-F442-0CB77D72408C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B3978BA-FCF9-D00F-B941-71EDC792CCD0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BBABC82-73C7-B527-726C-788CFB4C74AF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2626234-325E-0353-F1C1-E3EC675923F8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B3D02AF-CD28-6C28-32A9-6F832CA8C9C0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73CBC14-60EB-A4C8-622E-0FA75A726D0D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AD17D68-EBF1-4E84-04F2-30EB4894F41C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B5EF35E-C934-F5D5-D4EC-48FBDAC0DD4A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18" descr="A picture containing text, transport, aircraft&#10;&#10;Description automatically generated">
            <a:extLst>
              <a:ext uri="{FF2B5EF4-FFF2-40B4-BE49-F238E27FC236}">
                <a16:creationId xmlns:a16="http://schemas.microsoft.com/office/drawing/2014/main" id="{9139E082-ED19-EE87-24B3-FAAD8B0F370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37432" y="214473"/>
            <a:ext cx="3354568" cy="1352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537546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2D53B6A-0A2A-A63E-50F4-3BE989659A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8240EB8-E9EE-E202-7433-DC33E88D5E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9940574" y="-19878"/>
            <a:ext cx="2261365" cy="144942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2B72C6A-1C29-9545-4ACF-5CF2293C6C53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50597A6-EF46-2E6A-1CB2-C8BE772CFDFE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887C6C2-D16A-4418-C4E6-F0A60D5BEB71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62592EF-2EA8-FBAB-74D0-B35A1AD98D48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CFBE338-5481-6AFF-BA76-7DF921C61BD9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0EF49FC-5AD6-CE5B-61C8-22D911207174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E1800F1-C533-6F99-5272-67E29B411658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F5A6764-CC8C-3E72-C492-75D3621338FA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F451F83-5EF0-B406-2EBB-F51208625466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48B5A09-E0D4-42C1-70DD-C5C8BE658220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CB1E00B-1DCD-F462-B861-9BBBFD27F249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F468405-E35A-3081-23AA-A470E0F483D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231" y="735495"/>
            <a:ext cx="10952147" cy="562554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3600">
                <a:solidFill>
                  <a:srgbClr val="133CCF"/>
                </a:solidFill>
              </a:defRPr>
            </a:lvl1pPr>
            <a:lvl2pPr>
              <a:defRPr sz="2800">
                <a:solidFill>
                  <a:srgbClr val="133CCF"/>
                </a:solidFill>
              </a:defRPr>
            </a:lvl2pPr>
            <a:lvl3pPr>
              <a:defRPr sz="2800">
                <a:solidFill>
                  <a:srgbClr val="133CCF"/>
                </a:solidFill>
              </a:defRPr>
            </a:lvl3pPr>
            <a:lvl4pPr>
              <a:defRPr sz="2800">
                <a:solidFill>
                  <a:srgbClr val="133CCF"/>
                </a:solidFill>
              </a:defRPr>
            </a:lvl4pPr>
            <a:lvl5pPr>
              <a:defRPr sz="2800">
                <a:solidFill>
                  <a:srgbClr val="133CC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24464812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0E294F4-59D8-22AF-A935-EED997D8ED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659A700-3A2B-F840-339B-5A4EFC24EFA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0124325" y="-18535"/>
            <a:ext cx="2035962" cy="209938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1BB1214-EAA9-160D-C9CA-5B2611FBEAD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E3CC20C-FB3E-7FAE-E265-957CBD7B046A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D0B73B3-945A-C41F-D753-21E1E64F19A1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D682366-F3D6-E75D-7601-4EE50B39492E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888BFE8-C95B-6DBC-1BFB-4F7A3FA57126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F745BA5-7D92-2CFE-67BD-72F8CF25EF2B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2DBB934-58B7-A22A-CF85-648D5F2CFD5A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0ED8663-2765-3550-97E7-F2308B59A297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B1E37FC-D396-C377-63A7-7848EDB9805A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D45ECEF-2D90-95ED-043A-8FF8AA3C30ED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CDE37E5-8ED1-0746-90D2-0FD9DAFB53C3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2566DF6-38C2-83FB-5B6E-B8433093412B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823FF341-27CB-7B69-AB79-6AEE6F5EF48C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04873" y="715868"/>
            <a:ext cx="10977895" cy="562554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  <a:lvl2pPr marL="344488" indent="-173038">
              <a:buFont typeface="Arial" panose="020B0604020202020204" pitchFamily="34" charset="0"/>
              <a:buChar char="•"/>
              <a:defRPr sz="2800">
                <a:solidFill>
                  <a:schemeClr val="bg1"/>
                </a:solidFill>
              </a:defRPr>
            </a:lvl2pPr>
            <a:lvl3pPr marL="517525" indent="-173038">
              <a:buFont typeface="Courier New" panose="02070309020205020404" pitchFamily="49" charset="0"/>
              <a:buChar char="o"/>
              <a:defRPr sz="2800">
                <a:solidFill>
                  <a:schemeClr val="bg1"/>
                </a:solidFill>
              </a:defRPr>
            </a:lvl3pPr>
            <a:lvl4pPr marL="690563" indent="-173038">
              <a:buFont typeface="Wingdings" pitchFamily="2" charset="2"/>
              <a:buChar char="§"/>
              <a:defRPr sz="2800">
                <a:solidFill>
                  <a:schemeClr val="bg1"/>
                </a:solidFill>
              </a:defRPr>
            </a:lvl4pPr>
            <a:lvl5pPr marL="923925" indent="-233363">
              <a:buSzPct val="70000"/>
              <a:buFont typeface="Wingdings" pitchFamily="2" charset="2"/>
              <a:buChar char="q"/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82529221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F9111E3-B6B3-F20D-E234-232A58D7745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504" y="2780"/>
            <a:ext cx="12192000" cy="6855220"/>
          </a:xfrm>
          <a:prstGeom prst="rect">
            <a:avLst/>
          </a:prstGeom>
        </p:spPr>
      </p:pic>
      <p:pic>
        <p:nvPicPr>
          <p:cNvPr id="11" name="Picture Placeholder 11" descr="A picture containing person, cutting, plant, vegetable&#10;&#10;Description automatically generated">
            <a:extLst>
              <a:ext uri="{FF2B5EF4-FFF2-40B4-BE49-F238E27FC236}">
                <a16:creationId xmlns:a16="http://schemas.microsoft.com/office/drawing/2014/main" id="{B5C0B13E-0394-87CE-81AC-CF00C5075CF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6483963" cy="6858000"/>
          </a:xfrm>
          <a:prstGeom prst="rect">
            <a:avLst/>
          </a:prstGeom>
          <a:noFill/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2402783-288C-2D52-A4BA-8F45BACAE0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214876" cy="451343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9C32344-3F64-881D-8597-493E4E19655C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98DFE46-B5E2-F718-94E7-DEF297DF395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E00E491-5360-4420-3643-DDA78591604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2670FD2-6DEE-3AD9-85AC-45AAB1C327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ED70F8B-B5D8-3BA6-1B64-F30D8167806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0714F0B-729E-CAB1-D0E3-5633DF445DB1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C1B6030-5708-896E-87F9-D9EB5A92297E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2DD69C2-D4FE-4E6E-F4EA-F29654973D31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C48FFBE-14CD-15D0-B311-6B84759D8C4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A0CD2D3-A28D-3316-27BD-4D7CA492E49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798D593-3A07-FA79-0F2D-3BA8F7D72047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CCEE4AD4-5673-DC5D-0072-55F8141A6E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6416" y="1907198"/>
            <a:ext cx="4882138" cy="608864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7AEF975-7E8E-3FB4-D358-82BE2CB202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16416" y="2736147"/>
            <a:ext cx="4882138" cy="608864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  <a:p>
            <a:pPr lvl="0"/>
            <a:endParaRPr lang="en-US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CDD05584-C1AB-97CD-2E18-F6E51E3A46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42174" y="3959640"/>
            <a:ext cx="4882138" cy="38446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Date </a:t>
            </a:r>
          </a:p>
        </p:txBody>
      </p:sp>
      <p:pic>
        <p:nvPicPr>
          <p:cNvPr id="6" name="Picture 5" descr="A picture containing text, transport, aircraft&#10;&#10;Description automatically generated">
            <a:extLst>
              <a:ext uri="{FF2B5EF4-FFF2-40B4-BE49-F238E27FC236}">
                <a16:creationId xmlns:a16="http://schemas.microsoft.com/office/drawing/2014/main" id="{DD90E648-1748-89AA-A73B-36CFFFF9A76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3233" y="5291315"/>
            <a:ext cx="3156994" cy="1272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269793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CEF2B4A-8D8A-9921-8B20-101701BF012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504" y="2780"/>
            <a:ext cx="12192000" cy="6855220"/>
          </a:xfrm>
          <a:prstGeom prst="rect">
            <a:avLst/>
          </a:prstGeom>
        </p:spPr>
      </p:pic>
      <p:pic>
        <p:nvPicPr>
          <p:cNvPr id="20" name="Picture 19" descr="A picture containing text, electronics&#10;&#10;Description automatically generated">
            <a:extLst>
              <a:ext uri="{FF2B5EF4-FFF2-40B4-BE49-F238E27FC236}">
                <a16:creationId xmlns:a16="http://schemas.microsoft.com/office/drawing/2014/main" id="{7D525D62-6F88-4E1C-DDCA-3069A179E5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>
            <a:fillRect/>
          </a:stretch>
        </p:blipFill>
        <p:spPr>
          <a:xfrm>
            <a:off x="0" y="0"/>
            <a:ext cx="6515154" cy="6858000"/>
          </a:xfrm>
          <a:prstGeom prst="rect">
            <a:avLst/>
          </a:prstGeom>
        </p:spPr>
      </p:pic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7EB40FB-1164-79CB-79D7-1524D4C3B2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6416" y="1907198"/>
            <a:ext cx="4882138" cy="608864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E522F61-7AB0-BC8C-4E13-8BECE93AC1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16416" y="2736147"/>
            <a:ext cx="4882138" cy="608864"/>
          </a:xfrm>
          <a:noFill/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 sz="28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/>
              <a:t>Subtitle</a:t>
            </a:r>
          </a:p>
          <a:p>
            <a:pPr lvl="0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FBCD2ED-B4C5-B462-9A73-2116E09AD0F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5560"/>
            <a:ext cx="5214876" cy="4513432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374CB85-67B5-E257-BF4E-EC7A8FB663D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42174" y="3959640"/>
            <a:ext cx="4882138" cy="38446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Date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CEEFA0D-DF3D-CE89-FE60-598006CAECA8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5326ACE-97C8-16B8-2BB4-966A62E36AA9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02EC330-8540-F574-3F43-B0CC5C51E73D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7D0AC80-2A85-8389-7781-D2ACAE472C1A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59A9E27-A09A-E72B-112D-FCE664AE90F4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443FA9A-2B51-F1D1-159A-96558D3B7C86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02EAA39-754A-7E6F-CD96-E2887137756A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7F0E295-4B7D-6882-6B05-F68C467095F8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2002B6F-79EE-3A7E-1C92-9D8366CE262A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A446F5D-7AAF-99DF-6095-ED40913CF346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AD98835-C978-294E-BB3B-AC74182870BD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 picture containing text, transport, aircraft&#10;&#10;Description automatically generated">
            <a:extLst>
              <a:ext uri="{FF2B5EF4-FFF2-40B4-BE49-F238E27FC236}">
                <a16:creationId xmlns:a16="http://schemas.microsoft.com/office/drawing/2014/main" id="{C2A1283A-6C47-1ED3-0248-D7AE6215106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3233" y="5291315"/>
            <a:ext cx="3156994" cy="1272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8358390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F9111E3-B6B3-F20D-E234-232A58D7745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504" y="2780"/>
            <a:ext cx="12192000" cy="6855220"/>
          </a:xfrm>
          <a:prstGeom prst="rect">
            <a:avLst/>
          </a:prstGeom>
        </p:spPr>
      </p:pic>
      <p:pic>
        <p:nvPicPr>
          <p:cNvPr id="3" name="Picture Placeholder 10">
            <a:extLst>
              <a:ext uri="{FF2B5EF4-FFF2-40B4-BE49-F238E27FC236}">
                <a16:creationId xmlns:a16="http://schemas.microsoft.com/office/drawing/2014/main" id="{419BF2AC-5B85-C3CE-EE00-152E94FDE2C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313" y="-2780"/>
            <a:ext cx="6483963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2402783-288C-2D52-A4BA-8F45BACAE0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780"/>
            <a:ext cx="5214876" cy="451343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CAB5392-5704-E04E-E747-29A8663275E3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ACBC5A7-1EC6-EB25-52D6-D1B99B6B0FEE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7A1CE9-4B2A-D4B3-92BC-789F541A4B6F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A530835-A7B3-DA57-0B5D-08A7B65C9671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64FF597-37A2-9012-9F5C-6E3608EFF9AD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C475DC4-DFE2-242E-070E-AD22EA26489C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292DA2D-652A-3FCC-1F7C-16919CA77FEE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0E1A11F-7269-D682-6CDB-1D1CEDC3DF6C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331122F-F80D-B9E9-845C-1CA786BA955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363F9FB-9A84-2F9D-4951-A7000F923CE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0A10105-6CE0-7743-DA10-E3A203AAC3B0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94F55446-AB3C-1BD6-D67F-3A7019358F4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6416" y="1907198"/>
            <a:ext cx="4882138" cy="608864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A176BA80-2924-3690-AEF4-7AB56ACFC1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16416" y="2736147"/>
            <a:ext cx="4882138" cy="608864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28DBF978-C9B6-8ADE-7C85-09150467A18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42174" y="3959640"/>
            <a:ext cx="4882138" cy="38446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Date </a:t>
            </a:r>
          </a:p>
        </p:txBody>
      </p:sp>
      <p:pic>
        <p:nvPicPr>
          <p:cNvPr id="5" name="Picture 4" descr="A picture containing text, transport, aircraft&#10;&#10;Description automatically generated">
            <a:extLst>
              <a:ext uri="{FF2B5EF4-FFF2-40B4-BE49-F238E27FC236}">
                <a16:creationId xmlns:a16="http://schemas.microsoft.com/office/drawing/2014/main" id="{9A2EAAB6-6AAC-E655-2BE4-D3F181F9D4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3233" y="5291315"/>
            <a:ext cx="3156994" cy="1272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1108727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F9111E3-B6B3-F20D-E234-232A58D7745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504" y="2780"/>
            <a:ext cx="12192000" cy="6855220"/>
          </a:xfrm>
          <a:prstGeom prst="rect">
            <a:avLst/>
          </a:prstGeom>
        </p:spPr>
      </p:pic>
      <p:pic>
        <p:nvPicPr>
          <p:cNvPr id="11" name="Picture 10" descr="A person standing next to a refrigerator&#10;&#10;Description automatically generated with medium confidence">
            <a:extLst>
              <a:ext uri="{FF2B5EF4-FFF2-40B4-BE49-F238E27FC236}">
                <a16:creationId xmlns:a16="http://schemas.microsoft.com/office/drawing/2014/main" id="{646B3363-2589-6D20-01EA-720CE2264BB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14"/>
          <a:stretch>
            <a:fillRect/>
          </a:stretch>
        </p:blipFill>
        <p:spPr>
          <a:xfrm>
            <a:off x="0" y="-3225"/>
            <a:ext cx="6464459" cy="68552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2402783-288C-2D52-A4BA-8F45BACAE0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214876" cy="451343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9C32344-3F64-881D-8597-493E4E19655C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98DFE46-B5E2-F718-94E7-DEF297DF395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E00E491-5360-4420-3643-DDA78591604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2670FD2-6DEE-3AD9-85AC-45AAB1C327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ED70F8B-B5D8-3BA6-1B64-F30D8167806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0714F0B-729E-CAB1-D0E3-5633DF445DB1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C1B6030-5708-896E-87F9-D9EB5A92297E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2DD69C2-D4FE-4E6E-F4EA-F29654973D31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C48FFBE-14CD-15D0-B311-6B84759D8C4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A0CD2D3-A28D-3316-27BD-4D7CA492E49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798D593-3A07-FA79-0F2D-3BA8F7D72047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CCEE4AD4-5673-DC5D-0072-55F8141A6E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6416" y="1907198"/>
            <a:ext cx="4882138" cy="608864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7AEF975-7E8E-3FB4-D358-82BE2CB202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16416" y="2736147"/>
            <a:ext cx="4882138" cy="608864"/>
          </a:xfrm>
          <a:noFill/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 sz="28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/>
              <a:t>Subtitle</a:t>
            </a:r>
          </a:p>
          <a:p>
            <a:pPr lvl="0"/>
            <a:endParaRPr lang="en-US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CDD05584-C1AB-97CD-2E18-F6E51E3A46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42174" y="3959640"/>
            <a:ext cx="4882138" cy="38446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Date </a:t>
            </a:r>
          </a:p>
        </p:txBody>
      </p:sp>
      <p:pic>
        <p:nvPicPr>
          <p:cNvPr id="6" name="Picture 5" descr="A picture containing text, transport, aircraft&#10;&#10;Description automatically generated">
            <a:extLst>
              <a:ext uri="{FF2B5EF4-FFF2-40B4-BE49-F238E27FC236}">
                <a16:creationId xmlns:a16="http://schemas.microsoft.com/office/drawing/2014/main" id="{DB313A18-5181-B996-E36C-132A8A978F4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3233" y="5291315"/>
            <a:ext cx="3156994" cy="1272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6980744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id="{CCE26F7D-1A6B-8BA8-4B38-56072BE1C8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5737" y="368183"/>
            <a:ext cx="11509544" cy="909493"/>
          </a:xfrm>
        </p:spPr>
        <p:txBody>
          <a:bodyPr>
            <a:normAutofit/>
          </a:bodyPr>
          <a:lstStyle>
            <a:lvl1pPr>
              <a:defRPr sz="3200">
                <a:solidFill>
                  <a:srgbClr val="143DCF"/>
                </a:solidFill>
                <a:latin typeface="+mn-lt"/>
              </a:defRPr>
            </a:lvl1pPr>
          </a:lstStyle>
          <a:p>
            <a:r>
              <a:rPr lang="en-US"/>
              <a:t>Title Text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22DE728C-96E2-A7A1-8BC6-3F69AFE14E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9E824B7-BEEE-FE04-834B-33AA9F71795A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9D09BF4-B2B9-6F2F-6A78-7AEC1F0C158C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F2A299B-3BF3-954E-BFB7-7B69EA08E666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B005F8A-52E4-5AE8-E4A6-6AD3B753F07C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BE0BD81-258B-1996-071D-FBBF4D8E0A19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7ABDC88-A902-7D10-BD42-9D03C33D85C8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EB8E48C-57AE-2409-F79C-25C7620E31C4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2D238C2-452F-A06A-978C-07533FF1BA2D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07E4091-52E8-38F1-B527-C59A5BBFA912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2711AE0-B710-CF1B-7741-D27528E3E00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0A293C3-1580-7F3F-38F6-18ACD35B2ED6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2262227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2872C2F7-2E0B-2568-710B-F422833C66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225" y="1837765"/>
            <a:ext cx="8263054" cy="4124201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CCE26F7D-1A6B-8BA8-4B38-56072BE1C8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5737" y="368183"/>
            <a:ext cx="11509544" cy="909493"/>
          </a:xfrm>
        </p:spPr>
        <p:txBody>
          <a:bodyPr>
            <a:normAutofit/>
          </a:bodyPr>
          <a:lstStyle>
            <a:lvl1pPr>
              <a:defRPr sz="3200">
                <a:solidFill>
                  <a:srgbClr val="143DCF"/>
                </a:solidFill>
                <a:latin typeface="+mn-lt"/>
              </a:defRPr>
            </a:lvl1pPr>
          </a:lstStyle>
          <a:p>
            <a:r>
              <a:rPr lang="en-US"/>
              <a:t>Title Text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323D97AA-F8B3-3937-7D9B-5F13FDFCDD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14982" y="1930344"/>
            <a:ext cx="2535871" cy="400941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6DAD6DBC-BFE0-BCC8-DFC4-8C5D8B32801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2540" y="1930344"/>
            <a:ext cx="2535871" cy="400941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22DE728C-96E2-A7A1-8BC6-3F69AFE14E8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1267A27C-146F-8C91-CD73-B69A467DB0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14981" y="5634129"/>
            <a:ext cx="2535871" cy="400941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35AF00B9-FFA4-D85B-3971-CCAAA9D217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81389" y="5589588"/>
            <a:ext cx="2535871" cy="400941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B8A2F664-F7E5-5547-D5AC-4DC1D5585F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14980" y="3775909"/>
            <a:ext cx="2535871" cy="400941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3B6E29FB-4FED-B157-EAC6-A97DEB9C5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92540" y="3745684"/>
            <a:ext cx="2535871" cy="400941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0A88DE55-A757-6B98-FCAA-D8BB3FABCD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69410" y="1942678"/>
            <a:ext cx="2535871" cy="399758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9359A4D9-BBE3-D14D-C22E-AC7C12D32B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69410" y="5604685"/>
            <a:ext cx="2535871" cy="399758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F3C9E2FC-70D2-AF32-7539-F58AAED25F3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69410" y="3723785"/>
            <a:ext cx="2535871" cy="399758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9E824B7-BEEE-FE04-834B-33AA9F71795A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9D09BF4-B2B9-6F2F-6A78-7AEC1F0C158C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F2A299B-3BF3-954E-BFB7-7B69EA08E666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B005F8A-52E4-5AE8-E4A6-6AD3B753F07C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BE0BD81-258B-1996-071D-FBBF4D8E0A19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7ABDC88-A902-7D10-BD42-9D03C33D85C8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EB8E48C-57AE-2409-F79C-25C7620E31C4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2D238C2-452F-A06A-978C-07533FF1BA2D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07E4091-52E8-38F1-B527-C59A5BBFA912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2711AE0-B710-CF1B-7741-D27528E3E00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0A293C3-1580-7F3F-38F6-18ACD35B2ED6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7234666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90EE36E9-394F-0C41-BF42-F3DE19BE0FC0}"/>
              </a:ext>
            </a:extLst>
          </p:cNvPr>
          <p:cNvSpPr txBox="1"/>
          <p:nvPr userDrawn="1"/>
        </p:nvSpPr>
        <p:spPr>
          <a:xfrm>
            <a:off x="11064240" y="6639040"/>
            <a:ext cx="993807" cy="1981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CN" sz="700" b="0" i="0" strike="noStrike" cap="none" spc="300" baseline="0">
                <a:solidFill>
                  <a:srgbClr val="FFFFFF"/>
                </a:solidFill>
                <a:effectLst/>
                <a:latin typeface="SimSun"/>
                <a:ea typeface="SimSun"/>
                <a:cs typeface="SimSun"/>
              </a:rPr>
              <a:t>第 </a:t>
            </a:r>
            <a:fld id="{2E119112-9FD5-4E7E-A6F4-7E4F04E2533A}" type="slidenum">
              <a:rPr lang="en-US" altLang="zh-CN" sz="700" b="0" i="0" strike="noStrike" cap="none" spc="300" baseline="0">
                <a:solidFill>
                  <a:srgbClr val="FFFFFF"/>
                </a:solidFill>
                <a:effectLst/>
                <a:latin typeface="SimSun"/>
                <a:ea typeface="SimSun"/>
                <a:cs typeface="SimSun"/>
              </a:rPr>
              <a:t>‹#›</a:t>
            </a:fld>
            <a:r>
              <a:rPr lang="zh-CN" sz="700" b="0" i="0" strike="noStrike" cap="none" spc="300" baseline="0">
                <a:solidFill>
                  <a:srgbClr val="FFFFFF"/>
                </a:solidFill>
                <a:effectLst/>
                <a:latin typeface="SimSun"/>
                <a:ea typeface="SimSun"/>
                <a:cs typeface="SimSun"/>
              </a:rPr>
              <a:t> 页</a:t>
            </a:r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696A943-621C-B904-5750-CFE5CD8927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90"/>
            <a:ext cx="12192000" cy="685522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2AB6AE7-43CD-C976-2A32-5EBD06ABFC3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4000" y="-1390"/>
            <a:ext cx="6858000" cy="6858000"/>
          </a:xfrm>
          <a:prstGeom prst="rect">
            <a:avLst/>
          </a:prstGeom>
        </p:spPr>
      </p:pic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725C3909-A05B-B085-F033-8F70235FA4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2823" y="3618647"/>
            <a:ext cx="7053145" cy="601167"/>
          </a:xfrm>
        </p:spPr>
        <p:txBody>
          <a:bodyPr>
            <a:noAutofit/>
          </a:bodyPr>
          <a:lstStyle>
            <a:lvl1pPr marL="0" indent="0"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D38101CF-C93F-9F7C-4A02-9C6998B0BB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2823" y="4419697"/>
            <a:ext cx="7053145" cy="601167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9CB29D8-F6AD-7D16-6970-7D44A9A6979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DD8CFA6-11AF-0EFC-E415-CD113C67AEF9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871F8AA-8973-FDD0-996F-069FD13C8C04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BBF69C7-D84E-1D5C-83A8-F74AE52743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70813E5-CD1C-B3B9-8565-81CB96C05B3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B54A627-7181-1702-65CC-0462E76EE022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388916F-6EC4-2AF8-F037-8B78BC69072D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B75DF80-2AF1-060E-3052-ED53271484E6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46E393C-E4D0-3508-4396-238F3C851C9F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1C6FB3A-778E-D5EE-C5F8-23CA38DB0C22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5603148-A734-B419-9867-364A302C253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 descr="A picture containing text, transport, aircraft&#10;&#10;Description automatically generated">
            <a:extLst>
              <a:ext uri="{FF2B5EF4-FFF2-40B4-BE49-F238E27FC236}">
                <a16:creationId xmlns:a16="http://schemas.microsoft.com/office/drawing/2014/main" id="{71CFF483-1DEE-F160-A2A3-0BC15E17522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751" y="255284"/>
            <a:ext cx="3413263" cy="1375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1019965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84F95AF-2496-4632-A158-835CEA47C8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8966131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443" imgH="443" progId="TCLayout.ActiveDocument.1">
                  <p:embed/>
                </p:oleObj>
              </mc:Choice>
              <mc:Fallback>
                <p:oleObj name="think-cell Slide" r:id="rId24" imgW="443" imgH="44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84F95AF-2496-4632-A158-835CEA47C8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1FD0BA-3AA9-459F-A2B0-5B0986A4C2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91591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</p:sldLayoutIdLst>
  <p:transition/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133CCF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rgbClr val="133CCF"/>
          </a:solidFill>
          <a:latin typeface="+mn-lt"/>
          <a:ea typeface="+mn-ea"/>
          <a:cs typeface="+mn-cs"/>
        </a:defRPr>
      </a:lvl1pPr>
      <a:lvl2pPr marL="344488" indent="-173038" algn="l" defTabSz="914400" rtl="0" eaLnBrk="1" latinLnBrk="0" hangingPunct="1">
        <a:lnSpc>
          <a:spcPct val="90000"/>
        </a:lnSpc>
        <a:spcBef>
          <a:spcPts val="500"/>
        </a:spcBef>
        <a:buSzPct val="70000"/>
        <a:buFont typeface="Courier New" panose="02070309020205020404" pitchFamily="49" charset="0"/>
        <a:buChar char="o"/>
        <a:defRPr sz="1800" kern="1200">
          <a:solidFill>
            <a:srgbClr val="133CCF"/>
          </a:solidFill>
          <a:latin typeface="+mn-lt"/>
          <a:ea typeface="+mn-ea"/>
          <a:cs typeface="+mn-cs"/>
        </a:defRPr>
      </a:lvl2pPr>
      <a:lvl3pPr marL="517525" indent="-173038" algn="l" defTabSz="914400" rtl="0" eaLnBrk="1" latinLnBrk="0" hangingPunct="1">
        <a:lnSpc>
          <a:spcPct val="90000"/>
        </a:lnSpc>
        <a:spcBef>
          <a:spcPts val="500"/>
        </a:spcBef>
        <a:buFont typeface="Wingdings" pitchFamily="2" charset="2"/>
        <a:buChar char="§"/>
        <a:defRPr sz="1800" kern="1200">
          <a:solidFill>
            <a:srgbClr val="133CCF"/>
          </a:solidFill>
          <a:latin typeface="+mn-lt"/>
          <a:ea typeface="+mn-ea"/>
          <a:cs typeface="+mn-cs"/>
        </a:defRPr>
      </a:lvl3pPr>
      <a:lvl4pPr marL="690563" indent="-173038" algn="l" defTabSz="914400" rtl="0" eaLnBrk="1" latinLnBrk="0" hangingPunct="1">
        <a:lnSpc>
          <a:spcPct val="90000"/>
        </a:lnSpc>
        <a:spcBef>
          <a:spcPts val="500"/>
        </a:spcBef>
        <a:buSzPct val="70000"/>
        <a:buFont typeface="Wingdings" pitchFamily="2" charset="2"/>
        <a:buChar char="q"/>
        <a:defRPr sz="1800" kern="1200">
          <a:solidFill>
            <a:srgbClr val="133CCF"/>
          </a:solidFill>
          <a:latin typeface="+mn-lt"/>
          <a:ea typeface="+mn-ea"/>
          <a:cs typeface="+mn-cs"/>
        </a:defRPr>
      </a:lvl4pPr>
      <a:lvl5pPr marL="863600" indent="-173038" algn="l" defTabSz="914400" rtl="0" eaLnBrk="1" latinLnBrk="0" hangingPunct="1">
        <a:lnSpc>
          <a:spcPct val="90000"/>
        </a:lnSpc>
        <a:spcBef>
          <a:spcPts val="500"/>
        </a:spcBef>
        <a:buSzPct val="80000"/>
        <a:buFont typeface="Wingdings" pitchFamily="2" charset="2"/>
        <a:buChar char="v"/>
        <a:defRPr sz="1800" kern="1200">
          <a:solidFill>
            <a:srgbClr val="133CCF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Relationship Id="rId5" Type="http://schemas.openxmlformats.org/officeDocument/2006/relationships/hyperlink" Target="mailto:anna.witherspoon@pepsico.com" TargetMode="External"/><Relationship Id="rId4" Type="http://schemas.openxmlformats.org/officeDocument/2006/relationships/image" Target="../media/image2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ED3A8F-7B27-56FC-644E-BC5FA583C5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sz="2800" b="0" i="0" strike="noStrike" cap="none" spc="-20" baseline="0">
                <a:solidFill>
                  <a:srgbClr val="FFFFFF"/>
                </a:solidFill>
                <a:effectLst/>
                <a:ea typeface="SimSun" panose="02010600030101010101" pitchFamily="2" charset="-122"/>
                <a:cs typeface="SimSun"/>
              </a:rPr>
              <a:t>ReCon 计划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042F4A78-D8A5-0E52-0FD3-608C9721E12F}"/>
              </a:ext>
            </a:extLst>
          </p:cNvPr>
          <p:cNvGrpSpPr/>
          <p:nvPr/>
        </p:nvGrpSpPr>
        <p:grpSpPr>
          <a:xfrm>
            <a:off x="594504" y="1876212"/>
            <a:ext cx="5158205" cy="1172219"/>
            <a:chOff x="608881" y="2032525"/>
            <a:chExt cx="5158205" cy="1172219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755A790F-298D-F0DC-8EE4-F7630420A0EE}"/>
                </a:ext>
              </a:extLst>
            </p:cNvPr>
            <p:cNvSpPr txBox="1"/>
            <p:nvPr/>
          </p:nvSpPr>
          <p:spPr>
            <a:xfrm>
              <a:off x="608881" y="2401374"/>
              <a:ext cx="5158205" cy="803370"/>
            </a:xfrm>
            <a:prstGeom prst="rect">
              <a:avLst/>
            </a:prstGeom>
            <a:noFill/>
          </p:spPr>
          <p:txBody>
            <a:bodyPr wrap="square" lIns="91440" tIns="91440" rIns="91440" bIns="91440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zh-CN" sz="1400" b="0" i="0" strike="noStrike" cap="none" spc="-10" baseline="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SimSun" panose="02010600030101010101" pitchFamily="2" charset="-122"/>
                  <a:cs typeface="SimSun"/>
                </a:rPr>
                <a:t>尤其对于规模足够但尚未完全成熟的 Coman 和 FOBO 合作伙伴而言，他们在该计划中仍然具有最大利益。针对工厂制造/运营经理的课程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6F2A0103-E03D-00FF-67D0-07267FA564F5}"/>
                </a:ext>
              </a:extLst>
            </p:cNvPr>
            <p:cNvSpPr/>
            <p:nvPr/>
          </p:nvSpPr>
          <p:spPr>
            <a:xfrm>
              <a:off x="608884" y="2033515"/>
              <a:ext cx="5008158" cy="36359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SimSun" panose="02010600030101010101" pitchFamily="2" charset="-122"/>
                <a:cs typeface="+mn-cs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8DB23E3E-52CD-4F3B-5859-21D59D6A07BA}"/>
                </a:ext>
              </a:extLst>
            </p:cNvPr>
            <p:cNvSpPr txBox="1"/>
            <p:nvPr/>
          </p:nvSpPr>
          <p:spPr>
            <a:xfrm>
              <a:off x="723902" y="2032525"/>
              <a:ext cx="1954904" cy="363592"/>
            </a:xfrm>
            <a:prstGeom prst="rect">
              <a:avLst/>
            </a:prstGeom>
            <a:noFill/>
          </p:spPr>
          <p:txBody>
            <a:bodyPr wrap="square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zh-CN" sz="1400" b="1" i="0" strike="noStrike" cap="none" spc="200" baseline="0">
                  <a:solidFill>
                    <a:srgbClr val="FFFFFF"/>
                  </a:solidFill>
                  <a:effectLst/>
                  <a:latin typeface="Calibri" panose="020F0502020204030204" pitchFamily="34" charset="0"/>
                  <a:ea typeface="SimSun" panose="02010600030101010101" pitchFamily="2" charset="-122"/>
                  <a:cs typeface="SimSun"/>
                </a:rPr>
                <a:t>为谁而设？</a:t>
              </a:r>
              <a:endParaRPr kumimoji="0" lang="en-GB" sz="1400" b="1" i="0" u="none" strike="noStrike" kern="1200" cap="none" spc="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SimSun" panose="02010600030101010101" pitchFamily="2" charset="-122"/>
                <a:cs typeface="+mn-cs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1B508F4-5CAD-77CB-B7EC-C6763223BC78}"/>
              </a:ext>
            </a:extLst>
          </p:cNvPr>
          <p:cNvGrpSpPr/>
          <p:nvPr/>
        </p:nvGrpSpPr>
        <p:grpSpPr>
          <a:xfrm>
            <a:off x="590155" y="3048431"/>
            <a:ext cx="5061213" cy="1473003"/>
            <a:chOff x="723901" y="2032525"/>
            <a:chExt cx="5061213" cy="1473003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4AF42126-71AA-2389-069B-8B862973D359}"/>
                </a:ext>
              </a:extLst>
            </p:cNvPr>
            <p:cNvSpPr txBox="1"/>
            <p:nvPr/>
          </p:nvSpPr>
          <p:spPr>
            <a:xfrm>
              <a:off x="723901" y="2335432"/>
              <a:ext cx="5061213" cy="1170096"/>
            </a:xfrm>
            <a:prstGeom prst="rect">
              <a:avLst/>
            </a:prstGeom>
            <a:noFill/>
          </p:spPr>
          <p:txBody>
            <a:bodyPr wrap="square" lIns="91440" tIns="91440" rIns="91440" bIns="91440" anchor="t">
              <a:noAutofit/>
            </a:bodyPr>
            <a:lstStyle/>
            <a:p>
              <a:pPr>
                <a:defRPr/>
              </a:pPr>
              <a:r>
                <a:rPr lang="zh-CN" sz="1400" b="0" i="0" strike="noStrike" cap="none" spc="-10" baseline="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SimSun" panose="02010600030101010101" pitchFamily="2" charset="-122"/>
                  <a:cs typeface="SimSun"/>
                </a:rPr>
                <a:t>该计划提供一套系统、工具和最佳实践，以最大限度地提高我们的运营用水和能源使用效率，并使浪费最小化</a:t>
              </a:r>
            </a:p>
            <a:p>
              <a:pPr>
                <a:defRPr/>
              </a:pPr>
              <a:r>
                <a:rPr lang="zh-CN" sz="1400" b="0" i="0" strike="noStrike" cap="none" spc="-10" baseline="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SimSun" panose="02010600030101010101" pitchFamily="2" charset="-122"/>
                  <a:cs typeface="SimSun"/>
                </a:rPr>
                <a:t>内容以英语提供，并有中文、俄语、西班牙语和葡萄牙语版本</a:t>
              </a:r>
              <a:endParaRPr lang="en-US" sz="14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SimSun" panose="02010600030101010101" pitchFamily="2" charset="-122"/>
                <a:cs typeface="Calibri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D2F93960-E948-E844-F1BB-E90CBD8BA0E0}"/>
                </a:ext>
              </a:extLst>
            </p:cNvPr>
            <p:cNvSpPr/>
            <p:nvPr/>
          </p:nvSpPr>
          <p:spPr>
            <a:xfrm>
              <a:off x="723903" y="2033515"/>
              <a:ext cx="5008158" cy="36359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SimSun" panose="02010600030101010101" pitchFamily="2" charset="-122"/>
                <a:cs typeface="+mn-cs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A4626ED4-8C72-9527-B14E-C500E0FE0145}"/>
                </a:ext>
              </a:extLst>
            </p:cNvPr>
            <p:cNvSpPr txBox="1"/>
            <p:nvPr/>
          </p:nvSpPr>
          <p:spPr>
            <a:xfrm>
              <a:off x="867675" y="2032525"/>
              <a:ext cx="4158084" cy="334838"/>
            </a:xfrm>
            <a:prstGeom prst="rect">
              <a:avLst/>
            </a:prstGeom>
            <a:noFill/>
          </p:spPr>
          <p:txBody>
            <a:bodyPr wrap="square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zh-CN" sz="1400" b="1" i="0" strike="noStrike" cap="none" spc="200" baseline="0">
                  <a:solidFill>
                    <a:srgbClr val="FFFFFF"/>
                  </a:solidFill>
                  <a:effectLst/>
                  <a:latin typeface="Calibri" panose="020F0502020204030204" pitchFamily="34" charset="0"/>
                  <a:ea typeface="SimSun" panose="02010600030101010101" pitchFamily="2" charset="-122"/>
                  <a:cs typeface="SimSun"/>
                </a:rPr>
                <a:t>提供了什么？</a:t>
              </a:r>
              <a:endParaRPr kumimoji="0" lang="en-GB" sz="1400" b="1" i="0" u="none" strike="noStrike" kern="1200" cap="none" spc="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SimSun" panose="02010600030101010101" pitchFamily="2" charset="-122"/>
                <a:cs typeface="+mn-cs"/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1D714E7A-B476-70C2-6274-EA38D14B210D}"/>
              </a:ext>
            </a:extLst>
          </p:cNvPr>
          <p:cNvGrpSpPr/>
          <p:nvPr/>
        </p:nvGrpSpPr>
        <p:grpSpPr>
          <a:xfrm>
            <a:off x="666391" y="4621173"/>
            <a:ext cx="5008158" cy="1923108"/>
            <a:chOff x="6171482" y="2053574"/>
            <a:chExt cx="5008158" cy="1407726"/>
          </a:xfrm>
        </p:grpSpPr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4647DD53-1123-F33D-F070-A0F6FC1C0E7D}"/>
                </a:ext>
              </a:extLst>
            </p:cNvPr>
            <p:cNvSpPr txBox="1"/>
            <p:nvPr/>
          </p:nvSpPr>
          <p:spPr>
            <a:xfrm>
              <a:off x="6171482" y="2394744"/>
              <a:ext cx="5008158" cy="1066556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2700">
              <a:solidFill>
                <a:schemeClr val="accent1"/>
              </a:solidFill>
            </a:ln>
          </p:spPr>
          <p:txBody>
            <a:bodyPr wrap="square" lIns="91440" tIns="91440" rIns="91440" bIns="45720" anchor="t">
              <a:noAutofit/>
            </a:bodyPr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SimSun" panose="02010600030101010101" pitchFamily="2" charset="-122"/>
                <a:cs typeface="+mn-cs"/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560CF5B1-C18F-15E0-65EC-7E1E0A2208ED}"/>
                </a:ext>
              </a:extLst>
            </p:cNvPr>
            <p:cNvSpPr txBox="1"/>
            <p:nvPr/>
          </p:nvSpPr>
          <p:spPr>
            <a:xfrm>
              <a:off x="6171482" y="2053574"/>
              <a:ext cx="5008158" cy="363592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accent1"/>
              </a:solidFill>
            </a:ln>
          </p:spPr>
          <p:txBody>
            <a:bodyPr wrap="square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zh-CN" sz="1400" b="1" i="0" strike="noStrike" cap="none" spc="200" baseline="0">
                  <a:solidFill>
                    <a:srgbClr val="FFFFFF"/>
                  </a:solidFill>
                  <a:effectLst/>
                  <a:latin typeface="Calibri" panose="020F0502020204030204" pitchFamily="34" charset="0"/>
                  <a:ea typeface="SimSun" panose="02010600030101010101" pitchFamily="2" charset="-122"/>
                  <a:cs typeface="SimSun"/>
                </a:rPr>
                <a:t>对供应商来说有什么好处？</a:t>
              </a:r>
              <a:endParaRPr kumimoji="0" lang="en-GB" sz="1400" b="1" i="0" u="none" strike="noStrike" kern="1200" cap="none" spc="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SimSun" panose="02010600030101010101" pitchFamily="2" charset="-122"/>
                <a:cs typeface="+mn-cs"/>
              </a:endParaRPr>
            </a:p>
          </p:txBody>
        </p:sp>
      </p:grpSp>
      <p:pic>
        <p:nvPicPr>
          <p:cNvPr id="39" name="Picture 38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1949D7A-80B2-D329-5D2D-7B3CDCECE35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7730" y="1042087"/>
            <a:ext cx="3061514" cy="541260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A029A2A7-B815-A862-442E-752E8A6C798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82051" y="5325337"/>
            <a:ext cx="2105777" cy="1217261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7F64BAC4-97DF-E7AF-1B03-DC59B5F025F9}"/>
              </a:ext>
            </a:extLst>
          </p:cNvPr>
          <p:cNvSpPr txBox="1"/>
          <p:nvPr/>
        </p:nvSpPr>
        <p:spPr>
          <a:xfrm>
            <a:off x="662043" y="5161922"/>
            <a:ext cx="3104528" cy="11582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zh-CN" sz="1400" b="0" i="0" strike="noStrike" cap="none" spc="0" baseline="0">
                <a:solidFill>
                  <a:srgbClr val="000000"/>
                </a:solidFill>
                <a:effectLst/>
                <a:latin typeface="Calibri" panose="020F0502020204030204" pitchFamily="34" charset="0"/>
                <a:ea typeface="SimSun" panose="02010600030101010101" pitchFamily="2" charset="-122"/>
                <a:cs typeface="SimSun"/>
              </a:rPr>
              <a:t>对您免费的计划。PepsiCo 承担费用（每位注册人的费用）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zh-CN" sz="1400" b="0" i="0" strike="noStrike" cap="none" spc="0" baseline="0">
                <a:solidFill>
                  <a:srgbClr val="000000"/>
                </a:solidFill>
                <a:effectLst/>
                <a:latin typeface="Calibri" panose="020F0502020204030204" pitchFamily="34" charset="0"/>
                <a:ea typeface="SimSun" panose="02010600030101010101" pitchFamily="2" charset="-122"/>
                <a:cs typeface="SimSun"/>
              </a:rPr>
              <a:t>世界一流的 ReCon 成熟度与生产力节约相关，并带来世界一流的绩效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E18610AF-0005-750A-3AE0-4D7BD946E250}"/>
              </a:ext>
            </a:extLst>
          </p:cNvPr>
          <p:cNvSpPr/>
          <p:nvPr/>
        </p:nvSpPr>
        <p:spPr>
          <a:xfrm>
            <a:off x="6426404" y="3522431"/>
            <a:ext cx="5374096" cy="3492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SimSun" panose="02010600030101010101" pitchFamily="2" charset="-122"/>
              <a:cs typeface="+mn-cs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88FC292E-AB2D-1395-DBE2-BB771ED33FA4}"/>
              </a:ext>
            </a:extLst>
          </p:cNvPr>
          <p:cNvSpPr txBox="1"/>
          <p:nvPr/>
        </p:nvSpPr>
        <p:spPr>
          <a:xfrm>
            <a:off x="6520655" y="3526627"/>
            <a:ext cx="2362066" cy="3352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zh-CN" sz="1600" b="1" i="0" strike="noStrike" cap="none" spc="200" baseline="0">
                <a:solidFill>
                  <a:srgbClr val="FFFFFF"/>
                </a:solidFill>
                <a:effectLst/>
                <a:latin typeface="Calibri" panose="020F0502020204030204" pitchFamily="34" charset="0"/>
                <a:ea typeface="SimSun" panose="02010600030101010101" pitchFamily="2" charset="-122"/>
                <a:cs typeface="SimSun"/>
              </a:rPr>
              <a:t>后续步骤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71CD12F1-00CE-8C53-358C-9DB6B41DA803}"/>
              </a:ext>
            </a:extLst>
          </p:cNvPr>
          <p:cNvGrpSpPr/>
          <p:nvPr/>
        </p:nvGrpSpPr>
        <p:grpSpPr>
          <a:xfrm>
            <a:off x="7127879" y="4051050"/>
            <a:ext cx="4461676" cy="1847741"/>
            <a:chOff x="7105974" y="3120366"/>
            <a:chExt cx="4311492" cy="1847741"/>
          </a:xfrm>
        </p:grpSpPr>
        <p:sp>
          <p:nvSpPr>
            <p:cNvPr id="1026" name="TextBox 1025">
              <a:extLst>
                <a:ext uri="{FF2B5EF4-FFF2-40B4-BE49-F238E27FC236}">
                  <a16:creationId xmlns:a16="http://schemas.microsoft.com/office/drawing/2014/main" id="{C3AD25CB-E963-27E6-62FE-1A5F71E39C39}"/>
                </a:ext>
              </a:extLst>
            </p:cNvPr>
            <p:cNvSpPr txBox="1"/>
            <p:nvPr/>
          </p:nvSpPr>
          <p:spPr>
            <a:xfrm>
              <a:off x="7107675" y="3120366"/>
              <a:ext cx="4155605" cy="510577"/>
            </a:xfrm>
            <a:prstGeom prst="rect">
              <a:avLst/>
            </a:prstGeom>
            <a:noFill/>
          </p:spPr>
          <p:txBody>
            <a:bodyPr wrap="square" lIns="91440" tIns="45720" rIns="91440" bIns="4572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1309688" algn="l"/>
                </a:tabLst>
                <a:defRPr/>
              </a:pPr>
              <a:r>
                <a:rPr lang="zh-CN" sz="1400" b="0" i="0" strike="noStrike" cap="none" spc="0" baseline="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SimSun" panose="02010600030101010101" pitchFamily="2" charset="-122"/>
                  <a:cs typeface="SimSun"/>
                </a:rPr>
                <a:t>在一年中的不同时刻安排培训。3 个模块：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1309688" algn="l"/>
                </a:tabLst>
                <a:defRPr/>
              </a:pPr>
              <a:r>
                <a:rPr lang="zh-CN" sz="1400" b="0" i="0" strike="noStrike" cap="none" spc="0" baseline="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SimSun" panose="02010600030101010101" pitchFamily="2" charset="-122"/>
                  <a:cs typeface="SimSun"/>
                </a:rPr>
                <a:t>1. </a:t>
              </a:r>
              <a:r>
                <a:rPr lang="zh-CN" sz="1400" b="1" i="0" strike="noStrike" cap="none" spc="0" baseline="0">
                  <a:solidFill>
                    <a:srgbClr val="0065E5"/>
                  </a:solidFill>
                  <a:effectLst/>
                  <a:latin typeface="Calibri" panose="020F0502020204030204" pitchFamily="34" charset="0"/>
                  <a:ea typeface="SimSun" panose="02010600030101010101" pitchFamily="2" charset="-122"/>
                  <a:cs typeface="SimSun"/>
                </a:rPr>
                <a:t>ReCon 计划基础知识</a:t>
              </a: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SimSun" panose="02010600030101010101" pitchFamily="2" charset="-122"/>
                <a:cs typeface="Calibri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1309688" algn="l"/>
                </a:tabLst>
                <a:defRPr/>
              </a:pPr>
              <a:r>
                <a:rPr lang="zh-CN" sz="1400" b="0" i="0" strike="noStrike" cap="none" spc="0" baseline="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SimSun" panose="02010600030101010101" pitchFamily="2" charset="-122"/>
                  <a:cs typeface="SimSun"/>
                </a:rPr>
                <a:t>2.</a:t>
              </a:r>
              <a:r>
                <a:rPr lang="zh-CN" sz="1400" b="1" i="0" strike="noStrike" cap="none" spc="0" baseline="0">
                  <a:solidFill>
                    <a:srgbClr val="002060"/>
                  </a:solidFill>
                  <a:effectLst/>
                  <a:latin typeface="Calibri" panose="020F0502020204030204" pitchFamily="34" charset="0"/>
                  <a:ea typeface="SimSun" panose="02010600030101010101" pitchFamily="2" charset="-122"/>
                  <a:cs typeface="SimSun"/>
                </a:rPr>
                <a:t> ReCon 和压缩空气</a:t>
              </a: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SimSun" panose="02010600030101010101" pitchFamily="2" charset="-122"/>
                <a:cs typeface="Calibri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1309688" algn="l"/>
                </a:tabLst>
                <a:defRPr/>
              </a:pPr>
              <a:r>
                <a:rPr lang="zh-CN" sz="1400" b="0" i="0" strike="noStrike" cap="none" spc="0" baseline="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SimSun" panose="02010600030101010101" pitchFamily="2" charset="-122"/>
                  <a:cs typeface="SimSun"/>
                </a:rPr>
                <a:t>3.</a:t>
              </a:r>
              <a:r>
                <a:rPr lang="zh-CN" sz="1400" b="1" i="0" strike="noStrike" cap="none" spc="0" baseline="0">
                  <a:solidFill>
                    <a:srgbClr val="0065E5"/>
                  </a:solidFill>
                  <a:effectLst/>
                  <a:latin typeface="Calibri" panose="020F0502020204030204" pitchFamily="34" charset="0"/>
                  <a:ea typeface="SimSun" panose="02010600030101010101" pitchFamily="2" charset="-122"/>
                  <a:cs typeface="SimSun"/>
                </a:rPr>
                <a:t> ReCon 蒸汽</a:t>
              </a:r>
            </a:p>
          </p:txBody>
        </p:sp>
        <p:sp>
          <p:nvSpPr>
            <p:cNvPr id="1060" name="TextBox 1059">
              <a:extLst>
                <a:ext uri="{FF2B5EF4-FFF2-40B4-BE49-F238E27FC236}">
                  <a16:creationId xmlns:a16="http://schemas.microsoft.com/office/drawing/2014/main" id="{452E5669-480E-5EE0-2603-ECC36B54E97D}"/>
                </a:ext>
              </a:extLst>
            </p:cNvPr>
            <p:cNvSpPr txBox="1"/>
            <p:nvPr/>
          </p:nvSpPr>
          <p:spPr>
            <a:xfrm>
              <a:off x="7105974" y="4663306"/>
              <a:ext cx="4295516" cy="30480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zh-CN" sz="1400" b="0" i="0" strike="noStrike" cap="none" spc="0" baseline="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SimSun" panose="02010600030101010101" pitchFamily="2" charset="-122"/>
                  <a:cs typeface="SimSun"/>
                </a:rPr>
                <a:t>基本课程为期 2 周，平均每天 30 分钟</a:t>
              </a:r>
            </a:p>
          </p:txBody>
        </p:sp>
        <p:sp>
          <p:nvSpPr>
            <p:cNvPr id="1061" name="TextBox 1060">
              <a:extLst>
                <a:ext uri="{FF2B5EF4-FFF2-40B4-BE49-F238E27FC236}">
                  <a16:creationId xmlns:a16="http://schemas.microsoft.com/office/drawing/2014/main" id="{FB3BEC68-48B1-1251-9A8E-CEE0F9A0FE54}"/>
                </a:ext>
              </a:extLst>
            </p:cNvPr>
            <p:cNvSpPr txBox="1"/>
            <p:nvPr/>
          </p:nvSpPr>
          <p:spPr>
            <a:xfrm>
              <a:off x="7105975" y="3949561"/>
              <a:ext cx="4311491" cy="51816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zh-CN" sz="1400" b="0" i="0" strike="noStrike" cap="none" spc="0" baseline="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SimSun" panose="02010600030101010101" pitchFamily="2" charset="-122"/>
                  <a:cs typeface="SimSun"/>
                </a:rPr>
                <a:t>注册始终开放。合作伙伴以群组方式完成课程。2023 年 9 月和 2023 年 11 月是下一次的基本课程 </a:t>
              </a:r>
            </a:p>
          </p:txBody>
        </p:sp>
      </p:grpSp>
      <p:grpSp>
        <p:nvGrpSpPr>
          <p:cNvPr id="1062" name="Group 1061">
            <a:extLst>
              <a:ext uri="{FF2B5EF4-FFF2-40B4-BE49-F238E27FC236}">
                <a16:creationId xmlns:a16="http://schemas.microsoft.com/office/drawing/2014/main" id="{79613FE5-A710-BC41-91EF-5ED1B68EA496}"/>
              </a:ext>
            </a:extLst>
          </p:cNvPr>
          <p:cNvGrpSpPr/>
          <p:nvPr/>
        </p:nvGrpSpPr>
        <p:grpSpPr>
          <a:xfrm>
            <a:off x="6434388" y="5968298"/>
            <a:ext cx="5326290" cy="742339"/>
            <a:chOff x="7725689" y="5253422"/>
            <a:chExt cx="5326290" cy="617404"/>
          </a:xfrm>
        </p:grpSpPr>
        <p:sp>
          <p:nvSpPr>
            <p:cNvPr id="1064" name="Rounded Rectangle 34">
              <a:extLst>
                <a:ext uri="{FF2B5EF4-FFF2-40B4-BE49-F238E27FC236}">
                  <a16:creationId xmlns:a16="http://schemas.microsoft.com/office/drawing/2014/main" id="{36309995-306C-41FB-0E8D-89CD134E3ABB}"/>
                </a:ext>
              </a:extLst>
            </p:cNvPr>
            <p:cNvSpPr/>
            <p:nvPr/>
          </p:nvSpPr>
          <p:spPr>
            <a:xfrm>
              <a:off x="7725689" y="5261355"/>
              <a:ext cx="5326290" cy="609471"/>
            </a:xfrm>
            <a:prstGeom prst="roundRect">
              <a:avLst>
                <a:gd name="adj" fmla="val 0"/>
              </a:avLst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SimSun" panose="02010600030101010101" pitchFamily="2" charset="-122"/>
                <a:cs typeface="+mn-cs"/>
              </a:endParaRPr>
            </a:p>
          </p:txBody>
        </p:sp>
        <p:sp>
          <p:nvSpPr>
            <p:cNvPr id="1066" name="TextBox 1065">
              <a:extLst>
                <a:ext uri="{FF2B5EF4-FFF2-40B4-BE49-F238E27FC236}">
                  <a16:creationId xmlns:a16="http://schemas.microsoft.com/office/drawing/2014/main" id="{FB324A6F-386B-FE5D-16D3-C6DABE13F653}"/>
                </a:ext>
              </a:extLst>
            </p:cNvPr>
            <p:cNvSpPr txBox="1"/>
            <p:nvPr/>
          </p:nvSpPr>
          <p:spPr>
            <a:xfrm>
              <a:off x="8084499" y="5253422"/>
              <a:ext cx="4549788" cy="601857"/>
            </a:xfrm>
            <a:prstGeom prst="rect">
              <a:avLst/>
            </a:prstGeom>
            <a:noFill/>
          </p:spPr>
          <p:txBody>
            <a:bodyPr wrap="square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500"/>
                </a:spcAft>
                <a:buClrTx/>
                <a:buSzTx/>
                <a:buFontTx/>
                <a:buNone/>
                <a:defRPr/>
              </a:pPr>
              <a:r>
                <a:rPr lang="zh-CN" sz="1600" b="0" i="0" strike="noStrike" cap="none" spc="0" baseline="0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SimSun" panose="02010600030101010101" pitchFamily="2" charset="-122"/>
                  <a:cs typeface="SimSun"/>
                </a:rPr>
                <a:t>立即邀请您的供应商注册报名！</a:t>
              </a:r>
              <a:br>
                <a:rPr sz="1600" dirty="0">
                  <a:latin typeface="Calibri" panose="020F0502020204030204" pitchFamily="34" charset="0"/>
                  <a:ea typeface="SimSun" panose="02010600030101010101" pitchFamily="2" charset="-122"/>
                </a:rPr>
              </a:br>
              <a:r>
                <a:rPr lang="zh-CN" sz="1600" b="1" i="0" strike="noStrike" cap="none" spc="0" baseline="0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SimSun" panose="02010600030101010101" pitchFamily="2" charset="-122"/>
                  <a:cs typeface="SimSun"/>
                </a:rPr>
                <a:t>发送电子邮件至 </a:t>
              </a:r>
              <a:r>
                <a:rPr lang="zh-CN" sz="1600" b="1" i="0" strike="noStrike" cap="none" spc="0" baseline="0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SimSun" panose="02010600030101010101" pitchFamily="2" charset="-122"/>
                  <a:cs typeface="SimSun"/>
                  <a:hlinkClick r:id="rId5" history="0"/>
                </a:rPr>
                <a:t>anna.witherspoon@pepsico.com</a:t>
              </a:r>
              <a:r>
                <a:rPr lang="zh-CN" sz="1600" b="1" i="0" strike="noStrike" cap="none" spc="0" baseline="0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SimSun" panose="02010600030101010101" pitchFamily="2" charset="-122"/>
                  <a:cs typeface="SimSun"/>
                </a:rPr>
                <a:t> </a:t>
              </a:r>
            </a:p>
          </p:txBody>
        </p:sp>
      </p:grpSp>
      <p:sp>
        <p:nvSpPr>
          <p:cNvPr id="1067" name="Rectangle 1066">
            <a:extLst>
              <a:ext uri="{FF2B5EF4-FFF2-40B4-BE49-F238E27FC236}">
                <a16:creationId xmlns:a16="http://schemas.microsoft.com/office/drawing/2014/main" id="{84855415-AB9B-7524-F161-1E645BC5AD7A}"/>
              </a:ext>
            </a:extLst>
          </p:cNvPr>
          <p:cNvSpPr/>
          <p:nvPr/>
        </p:nvSpPr>
        <p:spPr>
          <a:xfrm>
            <a:off x="6422324" y="3663127"/>
            <a:ext cx="5367111" cy="3047510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SimSun" panose="02010600030101010101" pitchFamily="2" charset="-122"/>
              <a:cs typeface="+mn-cs"/>
            </a:endParaRPr>
          </a:p>
        </p:txBody>
      </p:sp>
      <p:sp>
        <p:nvSpPr>
          <p:cNvPr id="1069" name="Oval 1068">
            <a:extLst>
              <a:ext uri="{FF2B5EF4-FFF2-40B4-BE49-F238E27FC236}">
                <a16:creationId xmlns:a16="http://schemas.microsoft.com/office/drawing/2014/main" id="{3E2B5F26-9452-559A-FC68-C7AFB71C740E}"/>
              </a:ext>
            </a:extLst>
          </p:cNvPr>
          <p:cNvSpPr/>
          <p:nvPr/>
        </p:nvSpPr>
        <p:spPr>
          <a:xfrm>
            <a:off x="6568502" y="3962220"/>
            <a:ext cx="486952" cy="486952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zh-CN" sz="2000" b="1" i="0" strike="noStrike" cap="none" spc="0" baseline="0">
                <a:solidFill>
                  <a:srgbClr val="FFFFFF"/>
                </a:solidFill>
                <a:effectLst/>
                <a:latin typeface="Calibri" panose="020F0502020204030204" pitchFamily="34" charset="0"/>
                <a:ea typeface="SimSun" panose="02010600030101010101" pitchFamily="2" charset="-122"/>
                <a:cs typeface="SimSun"/>
              </a:rPr>
              <a:t>1</a:t>
            </a:r>
          </a:p>
        </p:txBody>
      </p:sp>
      <p:sp>
        <p:nvSpPr>
          <p:cNvPr id="1070" name="Oval 1069">
            <a:extLst>
              <a:ext uri="{FF2B5EF4-FFF2-40B4-BE49-F238E27FC236}">
                <a16:creationId xmlns:a16="http://schemas.microsoft.com/office/drawing/2014/main" id="{9C693EC2-A926-85D8-9C66-777D23926C77}"/>
              </a:ext>
            </a:extLst>
          </p:cNvPr>
          <p:cNvSpPr/>
          <p:nvPr/>
        </p:nvSpPr>
        <p:spPr>
          <a:xfrm>
            <a:off x="6568502" y="5481349"/>
            <a:ext cx="486952" cy="486952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zh-CN" sz="2000" b="1" i="0" strike="noStrike" cap="none" spc="0" baseline="0">
                <a:solidFill>
                  <a:srgbClr val="FFFFFF"/>
                </a:solidFill>
                <a:effectLst/>
                <a:latin typeface="Calibri" panose="020F0502020204030204" pitchFamily="34" charset="0"/>
                <a:ea typeface="SimSun" panose="02010600030101010101" pitchFamily="2" charset="-122"/>
                <a:cs typeface="SimSun"/>
              </a:rPr>
              <a:t>3</a:t>
            </a:r>
          </a:p>
        </p:txBody>
      </p:sp>
      <p:sp>
        <p:nvSpPr>
          <p:cNvPr id="1071" name="Oval 1070">
            <a:extLst>
              <a:ext uri="{FF2B5EF4-FFF2-40B4-BE49-F238E27FC236}">
                <a16:creationId xmlns:a16="http://schemas.microsoft.com/office/drawing/2014/main" id="{83AD3752-9D41-BE91-5E8C-5F6BF6D05FAA}"/>
              </a:ext>
            </a:extLst>
          </p:cNvPr>
          <p:cNvSpPr/>
          <p:nvPr/>
        </p:nvSpPr>
        <p:spPr>
          <a:xfrm>
            <a:off x="6568502" y="4776327"/>
            <a:ext cx="486952" cy="48695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zh-CN" sz="2000" b="1" i="0" strike="noStrike" cap="none" spc="0" baseline="0">
                <a:solidFill>
                  <a:srgbClr val="FFFFFF"/>
                </a:solidFill>
                <a:effectLst/>
                <a:latin typeface="Calibri" panose="020F0502020204030204" pitchFamily="34" charset="0"/>
                <a:ea typeface="SimSun" panose="02010600030101010101" pitchFamily="2" charset="-122"/>
                <a:cs typeface="SimSun"/>
              </a:rPr>
              <a:t>2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32F5BA6-B60E-E594-9D8E-D546FA0B605C}"/>
              </a:ext>
            </a:extLst>
          </p:cNvPr>
          <p:cNvSpPr txBox="1"/>
          <p:nvPr/>
        </p:nvSpPr>
        <p:spPr>
          <a:xfrm>
            <a:off x="608881" y="1000791"/>
            <a:ext cx="7292916" cy="86868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lang="zh-CN" sz="1800" b="1" i="0" strike="noStrike" cap="none" spc="200" baseline="0">
                <a:solidFill>
                  <a:srgbClr val="143DCD"/>
                </a:solidFill>
                <a:effectLst/>
                <a:latin typeface="Calibri" panose="020F0502020204030204" pitchFamily="34" charset="0"/>
                <a:ea typeface="SimSun" panose="02010600030101010101" pitchFamily="2" charset="-122"/>
                <a:cs typeface="SimSun"/>
              </a:rPr>
              <a:t>什么是 ReCon？</a:t>
            </a:r>
            <a:endParaRPr kumimoji="0" lang="en-GB" sz="1800" b="1" i="0" u="none" strike="noStrike" kern="1200" cap="none" spc="200" normalizeH="0" baseline="0" noProof="0">
              <a:ln>
                <a:noFill/>
              </a:ln>
              <a:solidFill>
                <a:srgbClr val="143DCD"/>
              </a:solidFill>
              <a:effectLst/>
              <a:uLnTx/>
              <a:uFillTx/>
              <a:latin typeface="Calibri" panose="020F0502020204030204" pitchFamily="34" charset="0"/>
              <a:ea typeface="SimSu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zh-CN" sz="1400" b="0" i="0" strike="noStrike" cap="none" spc="0" baseline="0">
                <a:solidFill>
                  <a:srgbClr val="000000"/>
                </a:solidFill>
                <a:effectLst/>
                <a:latin typeface="Calibri" panose="020F0502020204030204" pitchFamily="34" charset="0"/>
                <a:ea typeface="SimSun" panose="02010600030101010101" pitchFamily="2" charset="-122"/>
                <a:cs typeface="SimSun"/>
              </a:rPr>
              <a:t>ReCon 帮助生产工厂（包括 Coman/特许经营装瓶商）实现 pep+ 气候和水目标，同时为企业提高生产力。  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A8112E6-2894-CA6D-9358-5B19608D4545}"/>
              </a:ext>
            </a:extLst>
          </p:cNvPr>
          <p:cNvGrpSpPr/>
          <p:nvPr/>
        </p:nvGrpSpPr>
        <p:grpSpPr>
          <a:xfrm>
            <a:off x="6403136" y="1824443"/>
            <a:ext cx="5348621" cy="1516689"/>
            <a:chOff x="6070723" y="2082761"/>
            <a:chExt cx="5056428" cy="719827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B7ECC7E-1BDF-8D97-886B-67EA6528A70A}"/>
                </a:ext>
              </a:extLst>
            </p:cNvPr>
            <p:cNvSpPr txBox="1"/>
            <p:nvPr/>
          </p:nvSpPr>
          <p:spPr>
            <a:xfrm>
              <a:off x="6083318" y="2198134"/>
              <a:ext cx="5042378" cy="604454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2700">
              <a:solidFill>
                <a:schemeClr val="accent1"/>
              </a:solidFill>
            </a:ln>
          </p:spPr>
          <p:txBody>
            <a:bodyPr wrap="square" lIns="91440" tIns="91440" rIns="91440" bIns="45720" anchor="t">
              <a:noAutofit/>
            </a:bodyPr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SimSun" panose="02010600030101010101" pitchFamily="2" charset="-122"/>
                <a:cs typeface="+mn-cs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12C3ED53-3F00-EFC9-E315-F071A7C7877B}"/>
                </a:ext>
              </a:extLst>
            </p:cNvPr>
            <p:cNvSpPr txBox="1"/>
            <p:nvPr/>
          </p:nvSpPr>
          <p:spPr>
            <a:xfrm>
              <a:off x="6070723" y="2082761"/>
              <a:ext cx="5056428" cy="133922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accent1"/>
              </a:solidFill>
            </a:ln>
          </p:spPr>
          <p:txBody>
            <a:bodyPr wrap="square" lIns="91440" tIns="45720" rIns="91440" bIns="45720" anchor="ctr" anchorCtr="0">
              <a:noAutofit/>
            </a:bodyPr>
            <a:lstStyle/>
            <a:p>
              <a:pPr>
                <a:defRPr/>
              </a:pPr>
              <a:r>
                <a:rPr lang="zh-CN" sz="1400" b="1" i="0" strike="noStrike" cap="none" spc="200" baseline="0">
                  <a:solidFill>
                    <a:srgbClr val="FFFFFF"/>
                  </a:solidFill>
                  <a:effectLst/>
                  <a:latin typeface="Calibri" panose="020F0502020204030204" pitchFamily="34" charset="0"/>
                  <a:ea typeface="SimSun" panose="02010600030101010101" pitchFamily="2" charset="-122"/>
                  <a:cs typeface="SimSun"/>
                </a:rPr>
                <a:t>当前参与者的反馈</a:t>
              </a:r>
              <a:endParaRPr kumimoji="0" lang="en-GB" sz="1400" b="1" i="0" u="none" strike="noStrike" kern="1200" cap="none" spc="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SimSun" panose="02010600030101010101" pitchFamily="2" charset="-122"/>
                <a:cs typeface="+mn-cs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7DAFD9D3-5E43-4652-1555-FDC3937BE6A4}"/>
              </a:ext>
            </a:extLst>
          </p:cNvPr>
          <p:cNvSpPr txBox="1"/>
          <p:nvPr/>
        </p:nvSpPr>
        <p:spPr>
          <a:xfrm>
            <a:off x="6474809" y="2156696"/>
            <a:ext cx="5292967" cy="94488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defRPr/>
            </a:pPr>
            <a:r>
              <a:rPr lang="zh-CN" sz="1400" b="0" i="0" strike="noStrike" cap="none" spc="0" baseline="0">
                <a:solidFill>
                  <a:srgbClr val="000000"/>
                </a:solidFill>
                <a:effectLst/>
                <a:latin typeface="Calibri" panose="020F0502020204030204" pitchFamily="34" charset="0"/>
                <a:ea typeface="SimSun" panose="02010600030101010101" pitchFamily="2" charset="-122"/>
                <a:cs typeface="SimSun"/>
              </a:rPr>
              <a:t>“这门课程真的很棒，通过实施指导方针，我们可以获得想要的结果。</a:t>
            </a:r>
          </a:p>
          <a:p>
            <a:pPr>
              <a:defRPr/>
            </a:pPr>
            <a:endParaRPr lang="en-GB" sz="1400">
              <a:solidFill>
                <a:srgbClr val="000000"/>
              </a:solidFill>
              <a:latin typeface="Calibri" panose="020F0502020204030204" pitchFamily="34" charset="0"/>
              <a:ea typeface="SimSun" panose="02010600030101010101" pitchFamily="2" charset="-122"/>
            </a:endParaRPr>
          </a:p>
          <a:p>
            <a:pPr>
              <a:defRPr/>
            </a:pPr>
            <a:r>
              <a:rPr lang="zh-CN" sz="1400" b="0" i="0" strike="noStrike" cap="none" spc="0" baseline="0">
                <a:solidFill>
                  <a:srgbClr val="000000"/>
                </a:solidFill>
                <a:effectLst/>
                <a:latin typeface="Calibri" panose="020F0502020204030204" pitchFamily="34" charset="0"/>
                <a:ea typeface="SimSun" panose="02010600030101010101" pitchFamily="2" charset="-122"/>
                <a:cs typeface="SimSun"/>
              </a:rPr>
              <a:t>“我已经为自己和任职的公司学到了有价值的概念和工具。</a:t>
            </a:r>
            <a:endParaRPr lang="en-GB" sz="1400">
              <a:solidFill>
                <a:srgbClr val="000000"/>
              </a:solidFill>
              <a:latin typeface="Calibri" panose="020F0502020204030204" pitchFamily="34" charset="0"/>
              <a:ea typeface="SimSun" panose="02010600030101010101" pitchFamily="2" charset="-122"/>
              <a:cs typeface="Calibri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850159F-9CC0-48B0-B3CF-CDB61A37966B}"/>
              </a:ext>
            </a:extLst>
          </p:cNvPr>
          <p:cNvSpPr txBox="1"/>
          <p:nvPr/>
        </p:nvSpPr>
        <p:spPr>
          <a:xfrm>
            <a:off x="4892013" y="5500169"/>
            <a:ext cx="782536" cy="365760"/>
          </a:xfrm>
          <a:prstGeom prst="rect">
            <a:avLst/>
          </a:prstGeom>
          <a:solidFill>
            <a:srgbClr val="E8F8D9"/>
          </a:solidFill>
        </p:spPr>
        <p:txBody>
          <a:bodyPr wrap="square" rtlCol="0">
            <a:spAutoFit/>
          </a:bodyPr>
          <a:lstStyle/>
          <a:p>
            <a:r>
              <a:rPr lang="zh-CN" sz="900" b="0" i="0" strike="noStrike" cap="none" spc="0" baseline="0">
                <a:solidFill>
                  <a:srgbClr val="0070C0"/>
                </a:solidFill>
                <a:effectLst/>
                <a:latin typeface="Calibri" panose="020F0502020204030204" pitchFamily="34" charset="0"/>
                <a:ea typeface="SimSun" panose="02010600030101010101" pitchFamily="2" charset="-122"/>
                <a:cs typeface="SimSun"/>
              </a:rPr>
              <a:t>能源和水资源使用</a:t>
            </a:r>
            <a:endParaRPr lang="es-CO" sz="900">
              <a:solidFill>
                <a:srgbClr val="0070C0"/>
              </a:solidFill>
              <a:latin typeface="Calibri" panose="020F0502020204030204" pitchFamily="34" charset="0"/>
              <a:ea typeface="SimSu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519AEE0D-1C4C-42A9-B16A-164BECD7BB99}"/>
              </a:ext>
            </a:extLst>
          </p:cNvPr>
          <p:cNvSpPr txBox="1"/>
          <p:nvPr/>
        </p:nvSpPr>
        <p:spPr>
          <a:xfrm>
            <a:off x="3694859" y="6287635"/>
            <a:ext cx="1114289" cy="228600"/>
          </a:xfrm>
          <a:prstGeom prst="rect">
            <a:avLst/>
          </a:prstGeom>
          <a:solidFill>
            <a:srgbClr val="E8F8D9"/>
          </a:solidFill>
        </p:spPr>
        <p:txBody>
          <a:bodyPr wrap="square" rtlCol="0">
            <a:spAutoFit/>
          </a:bodyPr>
          <a:lstStyle/>
          <a:p>
            <a:pPr algn="ctr"/>
            <a:r>
              <a:rPr lang="zh-CN" sz="900" b="0" i="0" strike="noStrike" cap="none" spc="0" baseline="0">
                <a:solidFill>
                  <a:srgbClr val="BC8C04"/>
                </a:solidFill>
                <a:effectLst/>
                <a:latin typeface="Calibri" panose="020F0502020204030204" pitchFamily="34" charset="0"/>
                <a:ea typeface="SimSun" panose="02010600030101010101" pitchFamily="2" charset="-122"/>
                <a:cs typeface="SimSun"/>
              </a:rPr>
              <a:t>成熟度</a:t>
            </a:r>
            <a:endParaRPr lang="es-CO" sz="900">
              <a:solidFill>
                <a:srgbClr val="BC8C04"/>
              </a:solidFill>
              <a:latin typeface="Calibri" panose="020F0502020204030204" pitchFamily="34" charset="0"/>
              <a:ea typeface="SimSun" panose="02010600030101010101" pitchFamily="2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4559629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OS" val="Microsoft Windows NT 10.0"/>
  <p:tag name="AS_RELEASE_DATE" val="2023.06.30"/>
  <p:tag name="AS_TITLE" val="Aspose.Slides for Java"/>
  <p:tag name="AS_VERSION" val="23.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pep+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0C041"/>
      </a:accent1>
      <a:accent2>
        <a:srgbClr val="00A651"/>
      </a:accent2>
      <a:accent3>
        <a:srgbClr val="8EDB43"/>
      </a:accent3>
      <a:accent4>
        <a:srgbClr val="FFC62C"/>
      </a:accent4>
      <a:accent5>
        <a:srgbClr val="0065E5"/>
      </a:accent5>
      <a:accent6>
        <a:srgbClr val="4FE2F3"/>
      </a:accent6>
      <a:hlink>
        <a:srgbClr val="797979"/>
      </a:hlink>
      <a:folHlink>
        <a:srgbClr val="A9A9A9"/>
      </a:folHlink>
    </a:clrScheme>
    <a:fontScheme name="Calibri">
      <a:majorFont>
        <a:latin typeface="Calibri" panose="020F0502020204030204"/>
        <a:ea typeface="Calibri" panose="020F0502020204030204"/>
        <a:cs typeface="Arial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Calibri" panose="020F0502020204030204"/>
        <a:cs typeface="Arial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Calibri Light" panose="020F0302020204030204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Calibri" panose="020F0502020204030204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E9EC91132ADFE45B0E66798401BC50E" ma:contentTypeVersion="18" ma:contentTypeDescription="Create a new document." ma:contentTypeScope="" ma:versionID="8aab511cf751b7328419504d36f89a92">
  <xsd:schema xmlns:xsd="http://www.w3.org/2001/XMLSchema" xmlns:xs="http://www.w3.org/2001/XMLSchema" xmlns:p="http://schemas.microsoft.com/office/2006/metadata/properties" xmlns:ns2="dd60b2ae-bad4-4d1b-b416-c73d3851a7cb" xmlns:ns3="daf91340-3ccc-4aa5-923f-791d06611507" targetNamespace="http://schemas.microsoft.com/office/2006/metadata/properties" ma:root="true" ma:fieldsID="4c8cc525c13100ca373ce855af188e64" ns2:_="" ns3:_="">
    <xsd:import namespace="dd60b2ae-bad4-4d1b-b416-c73d3851a7cb"/>
    <xsd:import namespace="daf91340-3ccc-4aa5-923f-791d0661150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60b2ae-bad4-4d1b-b416-c73d3851a7c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b9ae8bc6-2808-436b-8758-b62c6fb37c0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Location" ma:index="25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af91340-3ccc-4aa5-923f-791d06611507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62034750-c476-44d1-b8d1-a449c3d13a8a}" ma:internalName="TaxCatchAll" ma:showField="CatchAllData" ma:web="daf91340-3ccc-4aa5-923f-791d0661150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d60b2ae-bad4-4d1b-b416-c73d3851a7cb">
      <Terms xmlns="http://schemas.microsoft.com/office/infopath/2007/PartnerControls"/>
    </lcf76f155ced4ddcb4097134ff3c332f>
    <TaxCatchAll xmlns="daf91340-3ccc-4aa5-923f-791d06611507" xsi:nil="true"/>
    <SharedWithUsers xmlns="daf91340-3ccc-4aa5-923f-791d06611507">
      <UserInfo>
        <DisplayName>Witherspoon, Anna {PEP}</DisplayName>
        <AccountId>45</AccountId>
        <AccountType/>
      </UserInfo>
      <UserInfo>
        <DisplayName>Hut, Erik {PEP}</DisplayName>
        <AccountId>9</AccountId>
        <AccountType/>
      </UserInfo>
      <UserInfo>
        <DisplayName>Delmoitie, Johan {PEP}</DisplayName>
        <AccountId>33</AccountId>
        <AccountType/>
      </UserInfo>
      <UserInfo>
        <DisplayName>Pollard, Andrew {PEP}</DisplayName>
        <AccountId>120</AccountId>
        <AccountType/>
      </UserInfo>
      <UserInfo>
        <DisplayName>Wright, Claire {PEP}</DisplayName>
        <AccountId>121</AccountId>
        <AccountType/>
      </UserInfo>
      <UserInfo>
        <DisplayName>Grove, Kathleen-De {PEP}</DisplayName>
        <AccountId>27</AccountId>
        <AccountType/>
      </UserInfo>
      <UserInfo>
        <DisplayName>CruzCastillo, Luciana {PEP}</DisplayName>
        <AccountId>122</AccountId>
        <AccountType/>
      </UserInfo>
      <UserInfo>
        <DisplayName>GARCIA, DYLAN {PEP}</DisplayName>
        <AccountId>123</AccountId>
        <AccountType/>
      </UserInfo>
      <UserInfo>
        <DisplayName>Schwarzbach, Natasha {PEP}</DisplayName>
        <AccountId>12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0DD4D140-27F3-4162-A190-1A9FBAB89B9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d60b2ae-bad4-4d1b-b416-c73d3851a7cb"/>
    <ds:schemaRef ds:uri="daf91340-3ccc-4aa5-923f-791d0661150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47C5517-EA59-47E5-BEE3-14BAA334C01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E810BD8-5EF2-43CE-9AD4-47EC5A532090}">
  <ds:schemaRefs>
    <ds:schemaRef ds:uri="09f724f0-0c9c-4c09-87c1-60751b11eb45"/>
    <ds:schemaRef ds:uri="1dae2c1c-4700-4f2c-8494-417ccadafe09"/>
    <ds:schemaRef ds:uri="http://schemas.microsoft.com/office/2006/metadata/properties"/>
    <ds:schemaRef ds:uri="http://schemas.microsoft.com/office/infopath/2007/PartnerControls"/>
    <ds:schemaRef ds:uri="dd60b2ae-bad4-4d1b-b416-c73d3851a7cb"/>
    <ds:schemaRef ds:uri="daf91340-3ccc-4aa5-923f-791d06611507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03</Words>
  <Application>Microsoft Office PowerPoint</Application>
  <PresentationFormat>Widescreen</PresentationFormat>
  <Paragraphs>29</Paragraphs>
  <Slides>1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1_Office Theme</vt:lpstr>
      <vt:lpstr>ReCon 计划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ut, Erik {PEP}</dc:creator>
  <cp:lastModifiedBy>Robyn Buckley</cp:lastModifiedBy>
  <cp:revision>15</cp:revision>
  <dcterms:created xsi:type="dcterms:W3CDTF">2023-08-17T14:01:04Z</dcterms:created>
  <dcterms:modified xsi:type="dcterms:W3CDTF">2024-08-21T13:05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E9EC91132ADFE45B0E66798401BC50E</vt:lpwstr>
  </property>
  <property fmtid="{D5CDD505-2E9C-101B-9397-08002B2CF9AE}" pid="3" name="MediaServiceImageTags">
    <vt:lpwstr/>
  </property>
</Properties>
</file>